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4"/>
  </p:sldMasterIdLst>
  <p:notesMasterIdLst>
    <p:notesMasterId r:id="rId27"/>
  </p:notesMasterIdLst>
  <p:handoutMasterIdLst>
    <p:handoutMasterId r:id="rId28"/>
  </p:handoutMasterIdLst>
  <p:sldIdLst>
    <p:sldId id="257" r:id="rId5"/>
    <p:sldId id="320" r:id="rId6"/>
    <p:sldId id="319" r:id="rId7"/>
    <p:sldId id="317" r:id="rId8"/>
    <p:sldId id="344" r:id="rId9"/>
    <p:sldId id="341" r:id="rId10"/>
    <p:sldId id="345" r:id="rId11"/>
    <p:sldId id="346" r:id="rId12"/>
    <p:sldId id="276" r:id="rId13"/>
    <p:sldId id="277" r:id="rId14"/>
    <p:sldId id="278" r:id="rId15"/>
    <p:sldId id="342" r:id="rId16"/>
    <p:sldId id="281" r:id="rId17"/>
    <p:sldId id="280" r:id="rId18"/>
    <p:sldId id="284" r:id="rId19"/>
    <p:sldId id="282" r:id="rId20"/>
    <p:sldId id="285" r:id="rId21"/>
    <p:sldId id="287" r:id="rId22"/>
    <p:sldId id="304" r:id="rId23"/>
    <p:sldId id="305" r:id="rId24"/>
    <p:sldId id="306" r:id="rId25"/>
    <p:sldId id="273" r:id="rId26"/>
  </p:sldIdLst>
  <p:sldSz cx="9144000" cy="5143500" type="screen16x9"/>
  <p:notesSz cx="6858000" cy="9144000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mp, Denise" initials="RD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1" autoAdjust="0"/>
    <p:restoredTop sz="96327" autoAdjust="0"/>
  </p:normalViewPr>
  <p:slideViewPr>
    <p:cSldViewPr snapToGrid="0">
      <p:cViewPr varScale="1">
        <p:scale>
          <a:sx n="83" d="100"/>
          <a:sy n="83" d="100"/>
        </p:scale>
        <p:origin x="748" y="52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50" d="100"/>
          <a:sy n="150" d="100"/>
        </p:scale>
        <p:origin x="1824" y="-19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7C6B3B3-D73D-234D-601C-DCAA97890D6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E58D5CF-BDB2-A8D9-1135-C82C7FAD3F9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7F8DEC-8DAA-4D1C-AB31-8C7ABC725A47}" type="datetimeFigureOut">
              <a:rPr lang="de-DE" smtClean="0"/>
              <a:t>20.03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60BCD4F-BE8E-BCC0-218E-E8565D21F0D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C7DE38A-7DF7-16C6-9218-FA70CF12848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D6DAA8-3808-462F-9A2E-A35101EF31ED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1392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F6EC19-B3D7-4CC9-85CF-E974E61A6CA7}" type="datetimeFigureOut">
              <a:rPr lang="de-DE" smtClean="0"/>
              <a:t>20.03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05326" y="969293"/>
            <a:ext cx="5847348" cy="3289134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505326" y="4572000"/>
            <a:ext cx="5847348" cy="376588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10387-C2F9-472C-924D-1E498FE740C4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8494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685800" rtl="0" eaLnBrk="1" latinLnBrk="0" hangingPunct="1">
      <a:spcAft>
        <a:spcPts val="400"/>
      </a:spcAft>
      <a:buClr>
        <a:schemeClr val="tx2"/>
      </a:buClr>
      <a:buFont typeface="Wingdings" panose="05000000000000000000" pitchFamily="2" charset="2"/>
      <a:buChar char=""/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60000" indent="-180000" algn="l" defTabSz="685800" rtl="0" eaLnBrk="1" latinLnBrk="0" hangingPunct="1">
      <a:spcAft>
        <a:spcPts val="400"/>
      </a:spcAft>
      <a:buClr>
        <a:schemeClr val="accent1"/>
      </a:buClr>
      <a:buFont typeface="Wingdings" panose="05000000000000000000" pitchFamily="2" charset="2"/>
      <a:buChar char="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539750" indent="-180000" algn="l" defTabSz="685800" rtl="0" eaLnBrk="1" latinLnBrk="0" hangingPunct="1">
      <a:spcAft>
        <a:spcPts val="400"/>
      </a:spcAft>
      <a:buClr>
        <a:schemeClr val="accent2"/>
      </a:buClr>
      <a:buFont typeface="Wingdings" panose="05000000000000000000" pitchFamily="2" charset="2"/>
      <a:buChar char="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685800" rtl="0" eaLnBrk="1" latinLnBrk="0" hangingPunct="1">
      <a:spcAft>
        <a:spcPts val="400"/>
      </a:spcAft>
      <a:buClr>
        <a:schemeClr val="accent2"/>
      </a:buClr>
      <a:buFont typeface="Wingdings" panose="05000000000000000000" pitchFamily="2" charset="2"/>
      <a:buChar char="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685800" rtl="0" eaLnBrk="1" latinLnBrk="0" hangingPunct="1">
      <a:spcAft>
        <a:spcPts val="400"/>
      </a:spcAft>
      <a:buClr>
        <a:schemeClr val="accent2"/>
      </a:buClr>
      <a:buFont typeface="Wingdings" panose="05000000000000000000" pitchFamily="2" charset="2"/>
      <a:buChar char="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Grafik 33" descr="Ein Bild, das Text enthält.&#10;&#10;Automatisch generierte Beschreibung">
            <a:extLst>
              <a:ext uri="{FF2B5EF4-FFF2-40B4-BE49-F238E27FC236}">
                <a16:creationId xmlns:a16="http://schemas.microsoft.com/office/drawing/2014/main" id="{365A07E4-12CD-B1E4-DDDB-0BA18D7A0E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606448"/>
            <a:ext cx="9144000" cy="4537052"/>
          </a:xfrm>
          <a:prstGeom prst="rect">
            <a:avLst/>
          </a:prstGeom>
        </p:spPr>
      </p:pic>
      <p:sp>
        <p:nvSpPr>
          <p:cNvPr id="42" name="Bildplatzhalter 41">
            <a:extLst>
              <a:ext uri="{FF2B5EF4-FFF2-40B4-BE49-F238E27FC236}">
                <a16:creationId xmlns:a16="http://schemas.microsoft.com/office/drawing/2014/main" id="{744EFB81-4661-4DA1-B8C1-B364AF8D26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5112000" y="1068432"/>
            <a:ext cx="4032000" cy="360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411980" y="1319080"/>
            <a:ext cx="6155757" cy="738664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2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411980" y="2129825"/>
            <a:ext cx="6155757" cy="261610"/>
          </a:xfrm>
        </p:spPr>
        <p:txBody>
          <a:bodyPr anchor="t">
            <a:noAutofit/>
          </a:bodyPr>
          <a:lstStyle>
            <a:lvl1pPr marL="0" indent="0" algn="l">
              <a:buNone/>
              <a:defRPr sz="170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03D71516-721B-6407-B689-B7616712FFBA}"/>
              </a:ext>
            </a:extLst>
          </p:cNvPr>
          <p:cNvGrpSpPr/>
          <p:nvPr userDrawn="1"/>
        </p:nvGrpSpPr>
        <p:grpSpPr bwMode="gray">
          <a:xfrm>
            <a:off x="1008000" y="615279"/>
            <a:ext cx="1249243" cy="293796"/>
            <a:chOff x="358775" y="4774973"/>
            <a:chExt cx="735172" cy="172897"/>
          </a:xfrm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A4909EEC-66E6-A89E-5968-5B444CC402EB}"/>
                </a:ext>
              </a:extLst>
            </p:cNvPr>
            <p:cNvSpPr/>
            <p:nvPr/>
          </p:nvSpPr>
          <p:spPr bwMode="gray">
            <a:xfrm>
              <a:off x="358775" y="4774973"/>
              <a:ext cx="735172" cy="172897"/>
            </a:xfrm>
            <a:custGeom>
              <a:avLst/>
              <a:gdLst>
                <a:gd name="connsiteX0" fmla="*/ 2575509 w 2918707"/>
                <a:gd name="connsiteY0" fmla="*/ 0 h 686420"/>
                <a:gd name="connsiteX1" fmla="*/ 343221 w 2918707"/>
                <a:gd name="connsiteY1" fmla="*/ 0 h 686420"/>
                <a:gd name="connsiteX2" fmla="*/ 0 w 2918707"/>
                <a:gd name="connsiteY2" fmla="*/ 343210 h 686420"/>
                <a:gd name="connsiteX3" fmla="*/ 343221 w 2918707"/>
                <a:gd name="connsiteY3" fmla="*/ 686420 h 686420"/>
                <a:gd name="connsiteX4" fmla="*/ 2575497 w 2918707"/>
                <a:gd name="connsiteY4" fmla="*/ 686420 h 686420"/>
                <a:gd name="connsiteX5" fmla="*/ 2918708 w 2918707"/>
                <a:gd name="connsiteY5" fmla="*/ 343210 h 686420"/>
                <a:gd name="connsiteX6" fmla="*/ 2575509 w 2918707"/>
                <a:gd name="connsiteY6" fmla="*/ 0 h 686420"/>
                <a:gd name="connsiteX7" fmla="*/ 2575509 w 2918707"/>
                <a:gd name="connsiteY7" fmla="*/ 662107 h 686420"/>
                <a:gd name="connsiteX8" fmla="*/ 343221 w 2918707"/>
                <a:gd name="connsiteY8" fmla="*/ 662107 h 686420"/>
                <a:gd name="connsiteX9" fmla="*/ 24313 w 2918707"/>
                <a:gd name="connsiteY9" fmla="*/ 343210 h 686420"/>
                <a:gd name="connsiteX10" fmla="*/ 343221 w 2918707"/>
                <a:gd name="connsiteY10" fmla="*/ 24325 h 686420"/>
                <a:gd name="connsiteX11" fmla="*/ 2575497 w 2918707"/>
                <a:gd name="connsiteY11" fmla="*/ 24325 h 686420"/>
                <a:gd name="connsiteX12" fmla="*/ 2894394 w 2918707"/>
                <a:gd name="connsiteY12" fmla="*/ 343221 h 686420"/>
                <a:gd name="connsiteX13" fmla="*/ 2575497 w 2918707"/>
                <a:gd name="connsiteY13" fmla="*/ 662118 h 686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18707" h="686420">
                  <a:moveTo>
                    <a:pt x="2575509" y="0"/>
                  </a:moveTo>
                  <a:lnTo>
                    <a:pt x="343221" y="0"/>
                  </a:lnTo>
                  <a:cubicBezTo>
                    <a:pt x="153970" y="0"/>
                    <a:pt x="0" y="153959"/>
                    <a:pt x="0" y="343210"/>
                  </a:cubicBezTo>
                  <a:cubicBezTo>
                    <a:pt x="0" y="532461"/>
                    <a:pt x="153970" y="686420"/>
                    <a:pt x="343221" y="686420"/>
                  </a:cubicBezTo>
                  <a:lnTo>
                    <a:pt x="2575497" y="686420"/>
                  </a:lnTo>
                  <a:cubicBezTo>
                    <a:pt x="2764749" y="686420"/>
                    <a:pt x="2918708" y="532450"/>
                    <a:pt x="2918708" y="343210"/>
                  </a:cubicBezTo>
                  <a:cubicBezTo>
                    <a:pt x="2918708" y="153970"/>
                    <a:pt x="2764749" y="0"/>
                    <a:pt x="2575509" y="0"/>
                  </a:cubicBezTo>
                  <a:close/>
                  <a:moveTo>
                    <a:pt x="2575509" y="662107"/>
                  </a:moveTo>
                  <a:lnTo>
                    <a:pt x="343221" y="662107"/>
                  </a:lnTo>
                  <a:cubicBezTo>
                    <a:pt x="167088" y="662107"/>
                    <a:pt x="24313" y="519332"/>
                    <a:pt x="24313" y="343210"/>
                  </a:cubicBezTo>
                  <a:cubicBezTo>
                    <a:pt x="24313" y="167088"/>
                    <a:pt x="167088" y="24325"/>
                    <a:pt x="343221" y="24325"/>
                  </a:cubicBezTo>
                  <a:lnTo>
                    <a:pt x="2575497" y="24325"/>
                  </a:lnTo>
                  <a:cubicBezTo>
                    <a:pt x="2751619" y="24325"/>
                    <a:pt x="2894394" y="167100"/>
                    <a:pt x="2894394" y="343221"/>
                  </a:cubicBezTo>
                  <a:cubicBezTo>
                    <a:pt x="2894394" y="519343"/>
                    <a:pt x="2751619" y="662118"/>
                    <a:pt x="2575497" y="662118"/>
                  </a:cubicBez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6500E59A-BF02-D30A-0AF7-81462A4B47F2}"/>
                </a:ext>
              </a:extLst>
            </p:cNvPr>
            <p:cNvSpPr/>
            <p:nvPr/>
          </p:nvSpPr>
          <p:spPr bwMode="gray">
            <a:xfrm>
              <a:off x="699090" y="4817610"/>
              <a:ext cx="56596" cy="87635"/>
            </a:xfrm>
            <a:custGeom>
              <a:avLst/>
              <a:gdLst>
                <a:gd name="connsiteX0" fmla="*/ 173960 w 224691"/>
                <a:gd name="connsiteY0" fmla="*/ 347875 h 347920"/>
                <a:gd name="connsiteX1" fmla="*/ 224692 w 224691"/>
                <a:gd name="connsiteY1" fmla="*/ 297132 h 347920"/>
                <a:gd name="connsiteX2" fmla="*/ 224692 w 224691"/>
                <a:gd name="connsiteY2" fmla="*/ 50971 h 347920"/>
                <a:gd name="connsiteX3" fmla="*/ 173960 w 224691"/>
                <a:gd name="connsiteY3" fmla="*/ 239 h 347920"/>
                <a:gd name="connsiteX4" fmla="*/ 166701 w 224691"/>
                <a:gd name="connsiteY4" fmla="*/ 0 h 347920"/>
                <a:gd name="connsiteX5" fmla="*/ 0 w 224691"/>
                <a:gd name="connsiteY5" fmla="*/ 23 h 347920"/>
                <a:gd name="connsiteX6" fmla="*/ 0 w 224691"/>
                <a:gd name="connsiteY6" fmla="*/ 347920 h 347920"/>
                <a:gd name="connsiteX7" fmla="*/ 166701 w 224691"/>
                <a:gd name="connsiteY7" fmla="*/ 347875 h 347920"/>
                <a:gd name="connsiteX8" fmla="*/ 173960 w 224691"/>
                <a:gd name="connsiteY8" fmla="*/ 347875 h 34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691" h="347920">
                  <a:moveTo>
                    <a:pt x="173960" y="347875"/>
                  </a:moveTo>
                  <a:cubicBezTo>
                    <a:pt x="201971" y="347875"/>
                    <a:pt x="224692" y="325154"/>
                    <a:pt x="224692" y="297132"/>
                  </a:cubicBezTo>
                  <a:lnTo>
                    <a:pt x="224692" y="50971"/>
                  </a:lnTo>
                  <a:cubicBezTo>
                    <a:pt x="224692" y="22960"/>
                    <a:pt x="201971" y="239"/>
                    <a:pt x="173960" y="239"/>
                  </a:cubicBezTo>
                  <a:lnTo>
                    <a:pt x="166701" y="0"/>
                  </a:lnTo>
                  <a:lnTo>
                    <a:pt x="0" y="23"/>
                  </a:lnTo>
                  <a:lnTo>
                    <a:pt x="0" y="347920"/>
                  </a:lnTo>
                  <a:lnTo>
                    <a:pt x="166701" y="347875"/>
                  </a:lnTo>
                  <a:lnTo>
                    <a:pt x="173960" y="347875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A99186D6-660A-80BE-0B79-2E58E7D9846F}"/>
                </a:ext>
              </a:extLst>
            </p:cNvPr>
            <p:cNvSpPr/>
            <p:nvPr/>
          </p:nvSpPr>
          <p:spPr bwMode="gray">
            <a:xfrm>
              <a:off x="837295" y="4837696"/>
              <a:ext cx="37533" cy="42046"/>
            </a:xfrm>
            <a:custGeom>
              <a:avLst/>
              <a:gdLst>
                <a:gd name="connsiteX0" fmla="*/ 74658 w 149009"/>
                <a:gd name="connsiteY0" fmla="*/ 0 h 166928"/>
                <a:gd name="connsiteX1" fmla="*/ 0 w 149009"/>
                <a:gd name="connsiteY1" fmla="*/ 166929 h 166928"/>
                <a:gd name="connsiteX2" fmla="*/ 149010 w 149009"/>
                <a:gd name="connsiteY2" fmla="*/ 166804 h 166928"/>
                <a:gd name="connsiteX3" fmla="*/ 74658 w 149009"/>
                <a:gd name="connsiteY3" fmla="*/ 0 h 166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009" h="166928">
                  <a:moveTo>
                    <a:pt x="74658" y="0"/>
                  </a:moveTo>
                  <a:lnTo>
                    <a:pt x="0" y="166929"/>
                  </a:lnTo>
                  <a:lnTo>
                    <a:pt x="149010" y="166804"/>
                  </a:lnTo>
                  <a:lnTo>
                    <a:pt x="74658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4947C2FD-027F-46FE-390D-4C9112F891A8}"/>
                </a:ext>
              </a:extLst>
            </p:cNvPr>
            <p:cNvSpPr/>
            <p:nvPr/>
          </p:nvSpPr>
          <p:spPr bwMode="gray">
            <a:xfrm>
              <a:off x="364902" y="4781100"/>
              <a:ext cx="722923" cy="160646"/>
            </a:xfrm>
            <a:custGeom>
              <a:avLst/>
              <a:gdLst>
                <a:gd name="connsiteX0" fmla="*/ 2551184 w 2870080"/>
                <a:gd name="connsiteY0" fmla="*/ 0 h 637781"/>
                <a:gd name="connsiteX1" fmla="*/ 318897 w 2870080"/>
                <a:gd name="connsiteY1" fmla="*/ 0 h 637781"/>
                <a:gd name="connsiteX2" fmla="*/ 0 w 2870080"/>
                <a:gd name="connsiteY2" fmla="*/ 318885 h 637781"/>
                <a:gd name="connsiteX3" fmla="*/ 318908 w 2870080"/>
                <a:gd name="connsiteY3" fmla="*/ 637782 h 637781"/>
                <a:gd name="connsiteX4" fmla="*/ 2551184 w 2870080"/>
                <a:gd name="connsiteY4" fmla="*/ 637782 h 637781"/>
                <a:gd name="connsiteX5" fmla="*/ 2870081 w 2870080"/>
                <a:gd name="connsiteY5" fmla="*/ 318885 h 637781"/>
                <a:gd name="connsiteX6" fmla="*/ 2551184 w 2870080"/>
                <a:gd name="connsiteY6" fmla="*/ 0 h 637781"/>
                <a:gd name="connsiteX7" fmla="*/ 2696496 w 2870080"/>
                <a:gd name="connsiteY7" fmla="*/ 195771 h 637781"/>
                <a:gd name="connsiteX8" fmla="*/ 2573336 w 2870080"/>
                <a:gd name="connsiteY8" fmla="*/ 195771 h 637781"/>
                <a:gd name="connsiteX9" fmla="*/ 2573336 w 2870080"/>
                <a:gd name="connsiteY9" fmla="*/ 195930 h 637781"/>
                <a:gd name="connsiteX10" fmla="*/ 2573279 w 2870080"/>
                <a:gd name="connsiteY10" fmla="*/ 195782 h 637781"/>
                <a:gd name="connsiteX11" fmla="*/ 2573336 w 2870080"/>
                <a:gd name="connsiteY11" fmla="*/ 195782 h 637781"/>
                <a:gd name="connsiteX12" fmla="*/ 2522604 w 2870080"/>
                <a:gd name="connsiteY12" fmla="*/ 145198 h 637781"/>
                <a:gd name="connsiteX13" fmla="*/ 2515300 w 2870080"/>
                <a:gd name="connsiteY13" fmla="*/ 144959 h 637781"/>
                <a:gd name="connsiteX14" fmla="*/ 2406578 w 2870080"/>
                <a:gd name="connsiteY14" fmla="*/ 144959 h 637781"/>
                <a:gd name="connsiteX15" fmla="*/ 2399489 w 2870080"/>
                <a:gd name="connsiteY15" fmla="*/ 145198 h 637781"/>
                <a:gd name="connsiteX16" fmla="*/ 2348746 w 2870080"/>
                <a:gd name="connsiteY16" fmla="*/ 195441 h 637781"/>
                <a:gd name="connsiteX17" fmla="*/ 2348587 w 2870080"/>
                <a:gd name="connsiteY17" fmla="*/ 202927 h 637781"/>
                <a:gd name="connsiteX18" fmla="*/ 2348587 w 2870080"/>
                <a:gd name="connsiteY18" fmla="*/ 434843 h 637781"/>
                <a:gd name="connsiteX19" fmla="*/ 2348701 w 2870080"/>
                <a:gd name="connsiteY19" fmla="*/ 442079 h 637781"/>
                <a:gd name="connsiteX20" fmla="*/ 2399444 w 2870080"/>
                <a:gd name="connsiteY20" fmla="*/ 492823 h 637781"/>
                <a:gd name="connsiteX21" fmla="*/ 2522593 w 2870080"/>
                <a:gd name="connsiteY21" fmla="*/ 492823 h 637781"/>
                <a:gd name="connsiteX22" fmla="*/ 2573324 w 2870080"/>
                <a:gd name="connsiteY22" fmla="*/ 442205 h 637781"/>
                <a:gd name="connsiteX23" fmla="*/ 2573268 w 2870080"/>
                <a:gd name="connsiteY23" fmla="*/ 442205 h 637781"/>
                <a:gd name="connsiteX24" fmla="*/ 2573324 w 2870080"/>
                <a:gd name="connsiteY24" fmla="*/ 442079 h 637781"/>
                <a:gd name="connsiteX25" fmla="*/ 2573324 w 2870080"/>
                <a:gd name="connsiteY25" fmla="*/ 442205 h 637781"/>
                <a:gd name="connsiteX26" fmla="*/ 2696485 w 2870080"/>
                <a:gd name="connsiteY26" fmla="*/ 442205 h 637781"/>
                <a:gd name="connsiteX27" fmla="*/ 2696485 w 2870080"/>
                <a:gd name="connsiteY27" fmla="*/ 456586 h 637781"/>
                <a:gd name="connsiteX28" fmla="*/ 2696371 w 2870080"/>
                <a:gd name="connsiteY28" fmla="*/ 471160 h 637781"/>
                <a:gd name="connsiteX29" fmla="*/ 2602155 w 2870080"/>
                <a:gd name="connsiteY29" fmla="*/ 565365 h 637781"/>
                <a:gd name="connsiteX30" fmla="*/ 2587762 w 2870080"/>
                <a:gd name="connsiteY30" fmla="*/ 565297 h 637781"/>
                <a:gd name="connsiteX31" fmla="*/ 2334092 w 2870080"/>
                <a:gd name="connsiteY31" fmla="*/ 565297 h 637781"/>
                <a:gd name="connsiteX32" fmla="*/ 2319404 w 2870080"/>
                <a:gd name="connsiteY32" fmla="*/ 565365 h 637781"/>
                <a:gd name="connsiteX33" fmla="*/ 2225177 w 2870080"/>
                <a:gd name="connsiteY33" fmla="*/ 471160 h 637781"/>
                <a:gd name="connsiteX34" fmla="*/ 2225370 w 2870080"/>
                <a:gd name="connsiteY34" fmla="*/ 456586 h 637781"/>
                <a:gd name="connsiteX35" fmla="*/ 2225370 w 2870080"/>
                <a:gd name="connsiteY35" fmla="*/ 167043 h 637781"/>
                <a:gd name="connsiteX36" fmla="*/ 2319597 w 2870080"/>
                <a:gd name="connsiteY36" fmla="*/ 72815 h 637781"/>
                <a:gd name="connsiteX37" fmla="*/ 2334081 w 2870080"/>
                <a:gd name="connsiteY37" fmla="*/ 72485 h 637781"/>
                <a:gd name="connsiteX38" fmla="*/ 2587751 w 2870080"/>
                <a:gd name="connsiteY38" fmla="*/ 72485 h 637781"/>
                <a:gd name="connsiteX39" fmla="*/ 2602143 w 2870080"/>
                <a:gd name="connsiteY39" fmla="*/ 72372 h 637781"/>
                <a:gd name="connsiteX40" fmla="*/ 2696360 w 2870080"/>
                <a:gd name="connsiteY40" fmla="*/ 166599 h 637781"/>
                <a:gd name="connsiteX41" fmla="*/ 2696473 w 2870080"/>
                <a:gd name="connsiteY41" fmla="*/ 181196 h 637781"/>
                <a:gd name="connsiteX42" fmla="*/ 2696473 w 2870080"/>
                <a:gd name="connsiteY42" fmla="*/ 195771 h 637781"/>
                <a:gd name="connsiteX43" fmla="*/ 195748 w 2870080"/>
                <a:gd name="connsiteY43" fmla="*/ 72474 h 637781"/>
                <a:gd name="connsiteX44" fmla="*/ 319022 w 2870080"/>
                <a:gd name="connsiteY44" fmla="*/ 72474 h 637781"/>
                <a:gd name="connsiteX45" fmla="*/ 319022 w 2870080"/>
                <a:gd name="connsiteY45" fmla="*/ 282660 h 637781"/>
                <a:gd name="connsiteX46" fmla="*/ 543884 w 2870080"/>
                <a:gd name="connsiteY46" fmla="*/ 282739 h 637781"/>
                <a:gd name="connsiteX47" fmla="*/ 543884 w 2870080"/>
                <a:gd name="connsiteY47" fmla="*/ 72474 h 637781"/>
                <a:gd name="connsiteX48" fmla="*/ 808272 w 2870080"/>
                <a:gd name="connsiteY48" fmla="*/ 72474 h 637781"/>
                <a:gd name="connsiteX49" fmla="*/ 935255 w 2870080"/>
                <a:gd name="connsiteY49" fmla="*/ 260792 h 637781"/>
                <a:gd name="connsiteX50" fmla="*/ 1061976 w 2870080"/>
                <a:gd name="connsiteY50" fmla="*/ 72474 h 637781"/>
                <a:gd name="connsiteX51" fmla="*/ 1566153 w 2870080"/>
                <a:gd name="connsiteY51" fmla="*/ 72474 h 637781"/>
                <a:gd name="connsiteX52" fmla="*/ 1580591 w 2870080"/>
                <a:gd name="connsiteY52" fmla="*/ 72610 h 637781"/>
                <a:gd name="connsiteX53" fmla="*/ 1674807 w 2870080"/>
                <a:gd name="connsiteY53" fmla="*/ 166827 h 637781"/>
                <a:gd name="connsiteX54" fmla="*/ 1674875 w 2870080"/>
                <a:gd name="connsiteY54" fmla="*/ 181173 h 637781"/>
                <a:gd name="connsiteX55" fmla="*/ 1674875 w 2870080"/>
                <a:gd name="connsiteY55" fmla="*/ 456574 h 637781"/>
                <a:gd name="connsiteX56" fmla="*/ 1674614 w 2870080"/>
                <a:gd name="connsiteY56" fmla="*/ 470955 h 637781"/>
                <a:gd name="connsiteX57" fmla="*/ 1580398 w 2870080"/>
                <a:gd name="connsiteY57" fmla="*/ 565160 h 637781"/>
                <a:gd name="connsiteX58" fmla="*/ 1566165 w 2870080"/>
                <a:gd name="connsiteY58" fmla="*/ 565285 h 637781"/>
                <a:gd name="connsiteX59" fmla="*/ 1203420 w 2870080"/>
                <a:gd name="connsiteY59" fmla="*/ 565285 h 637781"/>
                <a:gd name="connsiteX60" fmla="*/ 1203397 w 2870080"/>
                <a:gd name="connsiteY60" fmla="*/ 80643 h 637781"/>
                <a:gd name="connsiteX61" fmla="*/ 1000447 w 2870080"/>
                <a:gd name="connsiteY61" fmla="*/ 370470 h 637781"/>
                <a:gd name="connsiteX62" fmla="*/ 1000481 w 2870080"/>
                <a:gd name="connsiteY62" fmla="*/ 565285 h 637781"/>
                <a:gd name="connsiteX63" fmla="*/ 870017 w 2870080"/>
                <a:gd name="connsiteY63" fmla="*/ 565285 h 637781"/>
                <a:gd name="connsiteX64" fmla="*/ 870017 w 2870080"/>
                <a:gd name="connsiteY64" fmla="*/ 371210 h 637781"/>
                <a:gd name="connsiteX65" fmla="*/ 666965 w 2870080"/>
                <a:gd name="connsiteY65" fmla="*/ 81382 h 637781"/>
                <a:gd name="connsiteX66" fmla="*/ 667079 w 2870080"/>
                <a:gd name="connsiteY66" fmla="*/ 565285 h 637781"/>
                <a:gd name="connsiteX67" fmla="*/ 543873 w 2870080"/>
                <a:gd name="connsiteY67" fmla="*/ 565285 h 637781"/>
                <a:gd name="connsiteX68" fmla="*/ 543873 w 2870080"/>
                <a:gd name="connsiteY68" fmla="*/ 355099 h 637781"/>
                <a:gd name="connsiteX69" fmla="*/ 319010 w 2870080"/>
                <a:gd name="connsiteY69" fmla="*/ 355099 h 637781"/>
                <a:gd name="connsiteX70" fmla="*/ 319010 w 2870080"/>
                <a:gd name="connsiteY70" fmla="*/ 565274 h 637781"/>
                <a:gd name="connsiteX71" fmla="*/ 195691 w 2870080"/>
                <a:gd name="connsiteY71" fmla="*/ 565274 h 637781"/>
                <a:gd name="connsiteX72" fmla="*/ 195736 w 2870080"/>
                <a:gd name="connsiteY72" fmla="*/ 72451 h 637781"/>
                <a:gd name="connsiteX73" fmla="*/ 2008449 w 2870080"/>
                <a:gd name="connsiteY73" fmla="*/ 72463 h 637781"/>
                <a:gd name="connsiteX74" fmla="*/ 2240639 w 2870080"/>
                <a:gd name="connsiteY74" fmla="*/ 565217 h 637781"/>
                <a:gd name="connsiteX75" fmla="*/ 2101812 w 2870080"/>
                <a:gd name="connsiteY75" fmla="*/ 565217 h 637781"/>
                <a:gd name="connsiteX76" fmla="*/ 2056746 w 2870080"/>
                <a:gd name="connsiteY76" fmla="*/ 464049 h 637781"/>
                <a:gd name="connsiteX77" fmla="*/ 1843579 w 2870080"/>
                <a:gd name="connsiteY77" fmla="*/ 464049 h 637781"/>
                <a:gd name="connsiteX78" fmla="*/ 1798206 w 2870080"/>
                <a:gd name="connsiteY78" fmla="*/ 565342 h 637781"/>
                <a:gd name="connsiteX79" fmla="*/ 1659937 w 2870080"/>
                <a:gd name="connsiteY79" fmla="*/ 565365 h 637781"/>
                <a:gd name="connsiteX80" fmla="*/ 1892126 w 2870080"/>
                <a:gd name="connsiteY80" fmla="*/ 72474 h 637781"/>
                <a:gd name="connsiteX81" fmla="*/ 2008460 w 2870080"/>
                <a:gd name="connsiteY81" fmla="*/ 72474 h 637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2870080" h="637781">
                  <a:moveTo>
                    <a:pt x="2551184" y="0"/>
                  </a:moveTo>
                  <a:lnTo>
                    <a:pt x="318897" y="0"/>
                  </a:lnTo>
                  <a:cubicBezTo>
                    <a:pt x="142763" y="0"/>
                    <a:pt x="0" y="142763"/>
                    <a:pt x="0" y="318885"/>
                  </a:cubicBezTo>
                  <a:cubicBezTo>
                    <a:pt x="0" y="495007"/>
                    <a:pt x="142775" y="637782"/>
                    <a:pt x="318908" y="637782"/>
                  </a:cubicBezTo>
                  <a:lnTo>
                    <a:pt x="2551184" y="637782"/>
                  </a:lnTo>
                  <a:cubicBezTo>
                    <a:pt x="2727306" y="637782"/>
                    <a:pt x="2870081" y="495007"/>
                    <a:pt x="2870081" y="318885"/>
                  </a:cubicBezTo>
                  <a:cubicBezTo>
                    <a:pt x="2870081" y="142763"/>
                    <a:pt x="2727306" y="0"/>
                    <a:pt x="2551184" y="0"/>
                  </a:cubicBezTo>
                  <a:close/>
                  <a:moveTo>
                    <a:pt x="2696496" y="195771"/>
                  </a:moveTo>
                  <a:lnTo>
                    <a:pt x="2573336" y="195771"/>
                  </a:lnTo>
                  <a:cubicBezTo>
                    <a:pt x="2573336" y="195827"/>
                    <a:pt x="2573336" y="195873"/>
                    <a:pt x="2573336" y="195930"/>
                  </a:cubicBezTo>
                  <a:lnTo>
                    <a:pt x="2573279" y="195782"/>
                  </a:lnTo>
                  <a:lnTo>
                    <a:pt x="2573336" y="195782"/>
                  </a:lnTo>
                  <a:cubicBezTo>
                    <a:pt x="2573256" y="167839"/>
                    <a:pt x="2550570" y="145198"/>
                    <a:pt x="2522604" y="145198"/>
                  </a:cubicBezTo>
                  <a:lnTo>
                    <a:pt x="2515300" y="144959"/>
                  </a:lnTo>
                  <a:lnTo>
                    <a:pt x="2406578" y="144959"/>
                  </a:lnTo>
                  <a:lnTo>
                    <a:pt x="2399489" y="145198"/>
                  </a:lnTo>
                  <a:cubicBezTo>
                    <a:pt x="2371478" y="145198"/>
                    <a:pt x="2348746" y="167430"/>
                    <a:pt x="2348746" y="195441"/>
                  </a:cubicBezTo>
                  <a:lnTo>
                    <a:pt x="2348587" y="202927"/>
                  </a:lnTo>
                  <a:lnTo>
                    <a:pt x="2348587" y="434843"/>
                  </a:lnTo>
                  <a:lnTo>
                    <a:pt x="2348701" y="442079"/>
                  </a:lnTo>
                  <a:cubicBezTo>
                    <a:pt x="2348701" y="470113"/>
                    <a:pt x="2371410" y="492823"/>
                    <a:pt x="2399444" y="492823"/>
                  </a:cubicBezTo>
                  <a:lnTo>
                    <a:pt x="2522593" y="492823"/>
                  </a:lnTo>
                  <a:cubicBezTo>
                    <a:pt x="2550570" y="492823"/>
                    <a:pt x="2573256" y="470170"/>
                    <a:pt x="2573324" y="442205"/>
                  </a:cubicBezTo>
                  <a:lnTo>
                    <a:pt x="2573268" y="442205"/>
                  </a:lnTo>
                  <a:lnTo>
                    <a:pt x="2573324" y="442079"/>
                  </a:lnTo>
                  <a:cubicBezTo>
                    <a:pt x="2573324" y="442079"/>
                    <a:pt x="2573324" y="442159"/>
                    <a:pt x="2573324" y="442205"/>
                  </a:cubicBezTo>
                  <a:lnTo>
                    <a:pt x="2696485" y="442205"/>
                  </a:lnTo>
                  <a:lnTo>
                    <a:pt x="2696485" y="456586"/>
                  </a:lnTo>
                  <a:lnTo>
                    <a:pt x="2696371" y="471160"/>
                  </a:lnTo>
                  <a:cubicBezTo>
                    <a:pt x="2696371" y="523189"/>
                    <a:pt x="2654183" y="565365"/>
                    <a:pt x="2602155" y="565365"/>
                  </a:cubicBezTo>
                  <a:lnTo>
                    <a:pt x="2587762" y="565297"/>
                  </a:lnTo>
                  <a:lnTo>
                    <a:pt x="2334092" y="565297"/>
                  </a:lnTo>
                  <a:lnTo>
                    <a:pt x="2319404" y="565365"/>
                  </a:lnTo>
                  <a:cubicBezTo>
                    <a:pt x="2267364" y="565365"/>
                    <a:pt x="2225177" y="523189"/>
                    <a:pt x="2225177" y="471160"/>
                  </a:cubicBezTo>
                  <a:lnTo>
                    <a:pt x="2225370" y="456586"/>
                  </a:lnTo>
                  <a:lnTo>
                    <a:pt x="2225370" y="167043"/>
                  </a:lnTo>
                  <a:cubicBezTo>
                    <a:pt x="2225370" y="115003"/>
                    <a:pt x="2267569" y="72815"/>
                    <a:pt x="2319597" y="72815"/>
                  </a:cubicBezTo>
                  <a:lnTo>
                    <a:pt x="2334081" y="72485"/>
                  </a:lnTo>
                  <a:lnTo>
                    <a:pt x="2587751" y="72485"/>
                  </a:lnTo>
                  <a:lnTo>
                    <a:pt x="2602143" y="72372"/>
                  </a:lnTo>
                  <a:cubicBezTo>
                    <a:pt x="2654172" y="72372"/>
                    <a:pt x="2696360" y="114570"/>
                    <a:pt x="2696360" y="166599"/>
                  </a:cubicBezTo>
                  <a:lnTo>
                    <a:pt x="2696473" y="181196"/>
                  </a:lnTo>
                  <a:lnTo>
                    <a:pt x="2696473" y="195771"/>
                  </a:lnTo>
                  <a:close/>
                  <a:moveTo>
                    <a:pt x="195748" y="72474"/>
                  </a:moveTo>
                  <a:lnTo>
                    <a:pt x="319022" y="72474"/>
                  </a:lnTo>
                  <a:lnTo>
                    <a:pt x="319022" y="282660"/>
                  </a:lnTo>
                  <a:lnTo>
                    <a:pt x="543884" y="282739"/>
                  </a:lnTo>
                  <a:lnTo>
                    <a:pt x="543884" y="72474"/>
                  </a:lnTo>
                  <a:lnTo>
                    <a:pt x="808272" y="72474"/>
                  </a:lnTo>
                  <a:lnTo>
                    <a:pt x="935255" y="260792"/>
                  </a:lnTo>
                  <a:lnTo>
                    <a:pt x="1061976" y="72474"/>
                  </a:lnTo>
                  <a:lnTo>
                    <a:pt x="1566153" y="72474"/>
                  </a:lnTo>
                  <a:lnTo>
                    <a:pt x="1580591" y="72610"/>
                  </a:lnTo>
                  <a:cubicBezTo>
                    <a:pt x="1632620" y="72610"/>
                    <a:pt x="1674807" y="114798"/>
                    <a:pt x="1674807" y="166827"/>
                  </a:cubicBezTo>
                  <a:lnTo>
                    <a:pt x="1674875" y="181173"/>
                  </a:lnTo>
                  <a:lnTo>
                    <a:pt x="1674875" y="456574"/>
                  </a:lnTo>
                  <a:lnTo>
                    <a:pt x="1674614" y="470955"/>
                  </a:lnTo>
                  <a:cubicBezTo>
                    <a:pt x="1674614" y="522995"/>
                    <a:pt x="1632427" y="565160"/>
                    <a:pt x="1580398" y="565160"/>
                  </a:cubicBezTo>
                  <a:lnTo>
                    <a:pt x="1566165" y="565285"/>
                  </a:lnTo>
                  <a:lnTo>
                    <a:pt x="1203420" y="565285"/>
                  </a:lnTo>
                  <a:lnTo>
                    <a:pt x="1203397" y="80643"/>
                  </a:lnTo>
                  <a:lnTo>
                    <a:pt x="1000447" y="370470"/>
                  </a:lnTo>
                  <a:lnTo>
                    <a:pt x="1000481" y="565285"/>
                  </a:lnTo>
                  <a:lnTo>
                    <a:pt x="870017" y="565285"/>
                  </a:lnTo>
                  <a:lnTo>
                    <a:pt x="870017" y="371210"/>
                  </a:lnTo>
                  <a:lnTo>
                    <a:pt x="666965" y="81382"/>
                  </a:lnTo>
                  <a:lnTo>
                    <a:pt x="667079" y="565285"/>
                  </a:lnTo>
                  <a:lnTo>
                    <a:pt x="543873" y="565285"/>
                  </a:lnTo>
                  <a:lnTo>
                    <a:pt x="543873" y="355099"/>
                  </a:lnTo>
                  <a:lnTo>
                    <a:pt x="319010" y="355099"/>
                  </a:lnTo>
                  <a:lnTo>
                    <a:pt x="319010" y="565274"/>
                  </a:lnTo>
                  <a:lnTo>
                    <a:pt x="195691" y="565274"/>
                  </a:lnTo>
                  <a:lnTo>
                    <a:pt x="195736" y="72451"/>
                  </a:lnTo>
                  <a:close/>
                  <a:moveTo>
                    <a:pt x="2008449" y="72463"/>
                  </a:moveTo>
                  <a:lnTo>
                    <a:pt x="2240639" y="565217"/>
                  </a:lnTo>
                  <a:lnTo>
                    <a:pt x="2101812" y="565217"/>
                  </a:lnTo>
                  <a:lnTo>
                    <a:pt x="2056746" y="464049"/>
                  </a:lnTo>
                  <a:lnTo>
                    <a:pt x="1843579" y="464049"/>
                  </a:lnTo>
                  <a:lnTo>
                    <a:pt x="1798206" y="565342"/>
                  </a:lnTo>
                  <a:lnTo>
                    <a:pt x="1659937" y="565365"/>
                  </a:lnTo>
                  <a:lnTo>
                    <a:pt x="1892126" y="72474"/>
                  </a:lnTo>
                  <a:lnTo>
                    <a:pt x="2008460" y="72474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CA4AA92-B4BA-34E7-D682-0A3ACCFE9DFE}"/>
                </a:ext>
              </a:extLst>
            </p:cNvPr>
            <p:cNvSpPr/>
            <p:nvPr/>
          </p:nvSpPr>
          <p:spPr bwMode="gray">
            <a:xfrm>
              <a:off x="414202" y="4799355"/>
              <a:ext cx="372578" cy="124136"/>
            </a:xfrm>
            <a:custGeom>
              <a:avLst/>
              <a:gdLst>
                <a:gd name="connsiteX0" fmla="*/ 123308 w 1479173"/>
                <a:gd name="connsiteY0" fmla="*/ 282648 h 492833"/>
                <a:gd name="connsiteX1" fmla="*/ 348171 w 1479173"/>
                <a:gd name="connsiteY1" fmla="*/ 282648 h 492833"/>
                <a:gd name="connsiteX2" fmla="*/ 348171 w 1479173"/>
                <a:gd name="connsiteY2" fmla="*/ 492834 h 492833"/>
                <a:gd name="connsiteX3" fmla="*/ 471376 w 1479173"/>
                <a:gd name="connsiteY3" fmla="*/ 492834 h 492833"/>
                <a:gd name="connsiteX4" fmla="*/ 471262 w 1479173"/>
                <a:gd name="connsiteY4" fmla="*/ 8931 h 492833"/>
                <a:gd name="connsiteX5" fmla="*/ 674315 w 1479173"/>
                <a:gd name="connsiteY5" fmla="*/ 298759 h 492833"/>
                <a:gd name="connsiteX6" fmla="*/ 674315 w 1479173"/>
                <a:gd name="connsiteY6" fmla="*/ 492834 h 492833"/>
                <a:gd name="connsiteX7" fmla="*/ 804779 w 1479173"/>
                <a:gd name="connsiteY7" fmla="*/ 492834 h 492833"/>
                <a:gd name="connsiteX8" fmla="*/ 804745 w 1479173"/>
                <a:gd name="connsiteY8" fmla="*/ 298019 h 492833"/>
                <a:gd name="connsiteX9" fmla="*/ 1007695 w 1479173"/>
                <a:gd name="connsiteY9" fmla="*/ 8192 h 492833"/>
                <a:gd name="connsiteX10" fmla="*/ 1007717 w 1479173"/>
                <a:gd name="connsiteY10" fmla="*/ 492834 h 492833"/>
                <a:gd name="connsiteX11" fmla="*/ 1370462 w 1479173"/>
                <a:gd name="connsiteY11" fmla="*/ 492834 h 492833"/>
                <a:gd name="connsiteX12" fmla="*/ 1384695 w 1479173"/>
                <a:gd name="connsiteY12" fmla="*/ 492709 h 492833"/>
                <a:gd name="connsiteX13" fmla="*/ 1478912 w 1479173"/>
                <a:gd name="connsiteY13" fmla="*/ 398504 h 492833"/>
                <a:gd name="connsiteX14" fmla="*/ 1479173 w 1479173"/>
                <a:gd name="connsiteY14" fmla="*/ 384123 h 492833"/>
                <a:gd name="connsiteX15" fmla="*/ 1479173 w 1479173"/>
                <a:gd name="connsiteY15" fmla="*/ 108711 h 492833"/>
                <a:gd name="connsiteX16" fmla="*/ 1479105 w 1479173"/>
                <a:gd name="connsiteY16" fmla="*/ 94364 h 492833"/>
                <a:gd name="connsiteX17" fmla="*/ 1384889 w 1479173"/>
                <a:gd name="connsiteY17" fmla="*/ 148 h 492833"/>
                <a:gd name="connsiteX18" fmla="*/ 1370451 w 1479173"/>
                <a:gd name="connsiteY18" fmla="*/ 11 h 492833"/>
                <a:gd name="connsiteX19" fmla="*/ 866274 w 1479173"/>
                <a:gd name="connsiteY19" fmla="*/ 11 h 492833"/>
                <a:gd name="connsiteX20" fmla="*/ 739552 w 1479173"/>
                <a:gd name="connsiteY20" fmla="*/ 188330 h 492833"/>
                <a:gd name="connsiteX21" fmla="*/ 612570 w 1479173"/>
                <a:gd name="connsiteY21" fmla="*/ 11 h 492833"/>
                <a:gd name="connsiteX22" fmla="*/ 348182 w 1479173"/>
                <a:gd name="connsiteY22" fmla="*/ 11 h 492833"/>
                <a:gd name="connsiteX23" fmla="*/ 348182 w 1479173"/>
                <a:gd name="connsiteY23" fmla="*/ 210277 h 492833"/>
                <a:gd name="connsiteX24" fmla="*/ 123319 w 1479173"/>
                <a:gd name="connsiteY24" fmla="*/ 210197 h 492833"/>
                <a:gd name="connsiteX25" fmla="*/ 123319 w 1479173"/>
                <a:gd name="connsiteY25" fmla="*/ 0 h 492833"/>
                <a:gd name="connsiteX26" fmla="*/ 46 w 1479173"/>
                <a:gd name="connsiteY26" fmla="*/ 0 h 492833"/>
                <a:gd name="connsiteX27" fmla="*/ 0 w 1479173"/>
                <a:gd name="connsiteY27" fmla="*/ 492823 h 492833"/>
                <a:gd name="connsiteX28" fmla="*/ 123319 w 1479173"/>
                <a:gd name="connsiteY28" fmla="*/ 492823 h 492833"/>
                <a:gd name="connsiteX29" fmla="*/ 123319 w 1479173"/>
                <a:gd name="connsiteY29" fmla="*/ 282648 h 492833"/>
                <a:gd name="connsiteX30" fmla="*/ 1131060 w 1479173"/>
                <a:gd name="connsiteY30" fmla="*/ 72497 h 492833"/>
                <a:gd name="connsiteX31" fmla="*/ 1297761 w 1479173"/>
                <a:gd name="connsiteY31" fmla="*/ 72474 h 492833"/>
                <a:gd name="connsiteX32" fmla="*/ 1305020 w 1479173"/>
                <a:gd name="connsiteY32" fmla="*/ 72713 h 492833"/>
                <a:gd name="connsiteX33" fmla="*/ 1355751 w 1479173"/>
                <a:gd name="connsiteY33" fmla="*/ 123445 h 492833"/>
                <a:gd name="connsiteX34" fmla="*/ 1355751 w 1479173"/>
                <a:gd name="connsiteY34" fmla="*/ 369594 h 492833"/>
                <a:gd name="connsiteX35" fmla="*/ 1305020 w 1479173"/>
                <a:gd name="connsiteY35" fmla="*/ 420337 h 492833"/>
                <a:gd name="connsiteX36" fmla="*/ 1297761 w 1479173"/>
                <a:gd name="connsiteY36" fmla="*/ 420337 h 492833"/>
                <a:gd name="connsiteX37" fmla="*/ 1131060 w 1479173"/>
                <a:gd name="connsiteY37" fmla="*/ 420383 h 492833"/>
                <a:gd name="connsiteX38" fmla="*/ 1131060 w 1479173"/>
                <a:gd name="connsiteY38" fmla="*/ 72497 h 49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479173" h="492833">
                  <a:moveTo>
                    <a:pt x="123308" y="282648"/>
                  </a:moveTo>
                  <a:lnTo>
                    <a:pt x="348171" y="282648"/>
                  </a:lnTo>
                  <a:lnTo>
                    <a:pt x="348171" y="492834"/>
                  </a:lnTo>
                  <a:lnTo>
                    <a:pt x="471376" y="492834"/>
                  </a:lnTo>
                  <a:lnTo>
                    <a:pt x="471262" y="8931"/>
                  </a:lnTo>
                  <a:lnTo>
                    <a:pt x="674315" y="298759"/>
                  </a:lnTo>
                  <a:lnTo>
                    <a:pt x="674315" y="492834"/>
                  </a:lnTo>
                  <a:lnTo>
                    <a:pt x="804779" y="492834"/>
                  </a:lnTo>
                  <a:lnTo>
                    <a:pt x="804745" y="298019"/>
                  </a:lnTo>
                  <a:lnTo>
                    <a:pt x="1007695" y="8192"/>
                  </a:lnTo>
                  <a:lnTo>
                    <a:pt x="1007717" y="492834"/>
                  </a:lnTo>
                  <a:lnTo>
                    <a:pt x="1370462" y="492834"/>
                  </a:lnTo>
                  <a:lnTo>
                    <a:pt x="1384695" y="492709"/>
                  </a:lnTo>
                  <a:cubicBezTo>
                    <a:pt x="1436724" y="492709"/>
                    <a:pt x="1478912" y="450533"/>
                    <a:pt x="1478912" y="398504"/>
                  </a:cubicBezTo>
                  <a:lnTo>
                    <a:pt x="1479173" y="384123"/>
                  </a:lnTo>
                  <a:lnTo>
                    <a:pt x="1479173" y="108711"/>
                  </a:lnTo>
                  <a:lnTo>
                    <a:pt x="1479105" y="94364"/>
                  </a:lnTo>
                  <a:cubicBezTo>
                    <a:pt x="1479105" y="42335"/>
                    <a:pt x="1436918" y="148"/>
                    <a:pt x="1384889" y="148"/>
                  </a:cubicBezTo>
                  <a:lnTo>
                    <a:pt x="1370451" y="11"/>
                  </a:lnTo>
                  <a:lnTo>
                    <a:pt x="866274" y="11"/>
                  </a:lnTo>
                  <a:lnTo>
                    <a:pt x="739552" y="188330"/>
                  </a:lnTo>
                  <a:lnTo>
                    <a:pt x="612570" y="11"/>
                  </a:lnTo>
                  <a:lnTo>
                    <a:pt x="348182" y="11"/>
                  </a:lnTo>
                  <a:lnTo>
                    <a:pt x="348182" y="210277"/>
                  </a:lnTo>
                  <a:lnTo>
                    <a:pt x="123319" y="210197"/>
                  </a:lnTo>
                  <a:lnTo>
                    <a:pt x="123319" y="0"/>
                  </a:lnTo>
                  <a:lnTo>
                    <a:pt x="46" y="0"/>
                  </a:lnTo>
                  <a:lnTo>
                    <a:pt x="0" y="492823"/>
                  </a:lnTo>
                  <a:lnTo>
                    <a:pt x="123319" y="492823"/>
                  </a:lnTo>
                  <a:lnTo>
                    <a:pt x="123319" y="282648"/>
                  </a:lnTo>
                  <a:close/>
                  <a:moveTo>
                    <a:pt x="1131060" y="72497"/>
                  </a:moveTo>
                  <a:lnTo>
                    <a:pt x="1297761" y="72474"/>
                  </a:lnTo>
                  <a:lnTo>
                    <a:pt x="1305020" y="72713"/>
                  </a:lnTo>
                  <a:cubicBezTo>
                    <a:pt x="1333031" y="72713"/>
                    <a:pt x="1355751" y="95433"/>
                    <a:pt x="1355751" y="123445"/>
                  </a:cubicBezTo>
                  <a:lnTo>
                    <a:pt x="1355751" y="369594"/>
                  </a:lnTo>
                  <a:cubicBezTo>
                    <a:pt x="1355751" y="397628"/>
                    <a:pt x="1333031" y="420337"/>
                    <a:pt x="1305020" y="420337"/>
                  </a:cubicBezTo>
                  <a:lnTo>
                    <a:pt x="1297761" y="420337"/>
                  </a:lnTo>
                  <a:lnTo>
                    <a:pt x="1131060" y="420383"/>
                  </a:lnTo>
                  <a:lnTo>
                    <a:pt x="1131060" y="72497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4B550E7F-21C8-2F5A-C3F4-981C527E5743}"/>
                </a:ext>
              </a:extLst>
            </p:cNvPr>
            <p:cNvSpPr/>
            <p:nvPr/>
          </p:nvSpPr>
          <p:spPr bwMode="gray">
            <a:xfrm>
              <a:off x="925388" y="4799326"/>
              <a:ext cx="118717" cy="124176"/>
            </a:xfrm>
            <a:custGeom>
              <a:avLst/>
              <a:gdLst>
                <a:gd name="connsiteX0" fmla="*/ 376978 w 471319"/>
                <a:gd name="connsiteY0" fmla="*/ 0 h 492993"/>
                <a:gd name="connsiteX1" fmla="*/ 362586 w 471319"/>
                <a:gd name="connsiteY1" fmla="*/ 114 h 492993"/>
                <a:gd name="connsiteX2" fmla="*/ 108915 w 471319"/>
                <a:gd name="connsiteY2" fmla="*/ 114 h 492993"/>
                <a:gd name="connsiteX3" fmla="*/ 94432 w 471319"/>
                <a:gd name="connsiteY3" fmla="*/ 444 h 492993"/>
                <a:gd name="connsiteX4" fmla="*/ 205 w 471319"/>
                <a:gd name="connsiteY4" fmla="*/ 94671 h 492993"/>
                <a:gd name="connsiteX5" fmla="*/ 205 w 471319"/>
                <a:gd name="connsiteY5" fmla="*/ 384214 h 492993"/>
                <a:gd name="connsiteX6" fmla="*/ 0 w 471319"/>
                <a:gd name="connsiteY6" fmla="*/ 398789 h 492993"/>
                <a:gd name="connsiteX7" fmla="*/ 94227 w 471319"/>
                <a:gd name="connsiteY7" fmla="*/ 492993 h 492993"/>
                <a:gd name="connsiteX8" fmla="*/ 108915 w 471319"/>
                <a:gd name="connsiteY8" fmla="*/ 492925 h 492993"/>
                <a:gd name="connsiteX9" fmla="*/ 362586 w 471319"/>
                <a:gd name="connsiteY9" fmla="*/ 492925 h 492993"/>
                <a:gd name="connsiteX10" fmla="*/ 376978 w 471319"/>
                <a:gd name="connsiteY10" fmla="*/ 492993 h 492993"/>
                <a:gd name="connsiteX11" fmla="*/ 471194 w 471319"/>
                <a:gd name="connsiteY11" fmla="*/ 398789 h 492993"/>
                <a:gd name="connsiteX12" fmla="*/ 471308 w 471319"/>
                <a:gd name="connsiteY12" fmla="*/ 384214 h 492993"/>
                <a:gd name="connsiteX13" fmla="*/ 471308 w 471319"/>
                <a:gd name="connsiteY13" fmla="*/ 369833 h 492993"/>
                <a:gd name="connsiteX14" fmla="*/ 348148 w 471319"/>
                <a:gd name="connsiteY14" fmla="*/ 369833 h 492993"/>
                <a:gd name="connsiteX15" fmla="*/ 297416 w 471319"/>
                <a:gd name="connsiteY15" fmla="*/ 420451 h 492993"/>
                <a:gd name="connsiteX16" fmla="*/ 174267 w 471319"/>
                <a:gd name="connsiteY16" fmla="*/ 420451 h 492993"/>
                <a:gd name="connsiteX17" fmla="*/ 123524 w 471319"/>
                <a:gd name="connsiteY17" fmla="*/ 369708 h 492993"/>
                <a:gd name="connsiteX18" fmla="*/ 123410 w 471319"/>
                <a:gd name="connsiteY18" fmla="*/ 362472 h 492993"/>
                <a:gd name="connsiteX19" fmla="*/ 123410 w 471319"/>
                <a:gd name="connsiteY19" fmla="*/ 130567 h 492993"/>
                <a:gd name="connsiteX20" fmla="*/ 123570 w 471319"/>
                <a:gd name="connsiteY20" fmla="*/ 123080 h 492993"/>
                <a:gd name="connsiteX21" fmla="*/ 174313 w 471319"/>
                <a:gd name="connsiteY21" fmla="*/ 72838 h 492993"/>
                <a:gd name="connsiteX22" fmla="*/ 181401 w 471319"/>
                <a:gd name="connsiteY22" fmla="*/ 72599 h 492993"/>
                <a:gd name="connsiteX23" fmla="*/ 290123 w 471319"/>
                <a:gd name="connsiteY23" fmla="*/ 72599 h 492993"/>
                <a:gd name="connsiteX24" fmla="*/ 297428 w 471319"/>
                <a:gd name="connsiteY24" fmla="*/ 72838 h 492993"/>
                <a:gd name="connsiteX25" fmla="*/ 348159 w 471319"/>
                <a:gd name="connsiteY25" fmla="*/ 123422 h 492993"/>
                <a:gd name="connsiteX26" fmla="*/ 471319 w 471319"/>
                <a:gd name="connsiteY26" fmla="*/ 123422 h 492993"/>
                <a:gd name="connsiteX27" fmla="*/ 471319 w 471319"/>
                <a:gd name="connsiteY27" fmla="*/ 108836 h 492993"/>
                <a:gd name="connsiteX28" fmla="*/ 471206 w 471319"/>
                <a:gd name="connsiteY28" fmla="*/ 94239 h 492993"/>
                <a:gd name="connsiteX29" fmla="*/ 376989 w 471319"/>
                <a:gd name="connsiteY29" fmla="*/ 11 h 492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71319" h="492993">
                  <a:moveTo>
                    <a:pt x="376978" y="0"/>
                  </a:moveTo>
                  <a:lnTo>
                    <a:pt x="362586" y="114"/>
                  </a:lnTo>
                  <a:lnTo>
                    <a:pt x="108915" y="114"/>
                  </a:lnTo>
                  <a:lnTo>
                    <a:pt x="94432" y="444"/>
                  </a:lnTo>
                  <a:cubicBezTo>
                    <a:pt x="42403" y="444"/>
                    <a:pt x="205" y="42631"/>
                    <a:pt x="205" y="94671"/>
                  </a:cubicBezTo>
                  <a:lnTo>
                    <a:pt x="205" y="384214"/>
                  </a:lnTo>
                  <a:lnTo>
                    <a:pt x="0" y="398789"/>
                  </a:lnTo>
                  <a:cubicBezTo>
                    <a:pt x="0" y="450817"/>
                    <a:pt x="42187" y="492993"/>
                    <a:pt x="94227" y="492993"/>
                  </a:cubicBezTo>
                  <a:lnTo>
                    <a:pt x="108915" y="492925"/>
                  </a:lnTo>
                  <a:lnTo>
                    <a:pt x="362586" y="492925"/>
                  </a:lnTo>
                  <a:lnTo>
                    <a:pt x="376978" y="492993"/>
                  </a:lnTo>
                  <a:cubicBezTo>
                    <a:pt x="429007" y="492993"/>
                    <a:pt x="471194" y="450817"/>
                    <a:pt x="471194" y="398789"/>
                  </a:cubicBezTo>
                  <a:lnTo>
                    <a:pt x="471308" y="384214"/>
                  </a:lnTo>
                  <a:lnTo>
                    <a:pt x="471308" y="369833"/>
                  </a:lnTo>
                  <a:lnTo>
                    <a:pt x="348148" y="369833"/>
                  </a:lnTo>
                  <a:cubicBezTo>
                    <a:pt x="348080" y="397810"/>
                    <a:pt x="325393" y="420451"/>
                    <a:pt x="297416" y="420451"/>
                  </a:cubicBezTo>
                  <a:lnTo>
                    <a:pt x="174267" y="420451"/>
                  </a:lnTo>
                  <a:cubicBezTo>
                    <a:pt x="146245" y="420451"/>
                    <a:pt x="123524" y="397742"/>
                    <a:pt x="123524" y="369708"/>
                  </a:cubicBezTo>
                  <a:lnTo>
                    <a:pt x="123410" y="362472"/>
                  </a:lnTo>
                  <a:lnTo>
                    <a:pt x="123410" y="130567"/>
                  </a:lnTo>
                  <a:lnTo>
                    <a:pt x="123570" y="123080"/>
                  </a:lnTo>
                  <a:cubicBezTo>
                    <a:pt x="123570" y="95069"/>
                    <a:pt x="146290" y="72838"/>
                    <a:pt x="174313" y="72838"/>
                  </a:cubicBezTo>
                  <a:lnTo>
                    <a:pt x="181401" y="72599"/>
                  </a:lnTo>
                  <a:lnTo>
                    <a:pt x="290123" y="72599"/>
                  </a:lnTo>
                  <a:lnTo>
                    <a:pt x="297428" y="72838"/>
                  </a:lnTo>
                  <a:cubicBezTo>
                    <a:pt x="325393" y="72838"/>
                    <a:pt x="348068" y="95468"/>
                    <a:pt x="348159" y="123422"/>
                  </a:cubicBezTo>
                  <a:lnTo>
                    <a:pt x="471319" y="123422"/>
                  </a:lnTo>
                  <a:lnTo>
                    <a:pt x="471319" y="108836"/>
                  </a:lnTo>
                  <a:lnTo>
                    <a:pt x="471206" y="94239"/>
                  </a:lnTo>
                  <a:cubicBezTo>
                    <a:pt x="471206" y="42210"/>
                    <a:pt x="429018" y="11"/>
                    <a:pt x="376989" y="11"/>
                  </a:cubicBez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E59255CC-BBF7-FCF5-3251-8C5ADB6D76CE}"/>
                </a:ext>
              </a:extLst>
            </p:cNvPr>
            <p:cNvSpPr/>
            <p:nvPr/>
          </p:nvSpPr>
          <p:spPr bwMode="gray">
            <a:xfrm>
              <a:off x="1013066" y="4892449"/>
              <a:ext cx="14" cy="31"/>
            </a:xfrm>
            <a:custGeom>
              <a:avLst/>
              <a:gdLst>
                <a:gd name="connsiteX0" fmla="*/ 0 w 56"/>
                <a:gd name="connsiteY0" fmla="*/ 125 h 125"/>
                <a:gd name="connsiteX1" fmla="*/ 57 w 56"/>
                <a:gd name="connsiteY1" fmla="*/ 125 h 125"/>
                <a:gd name="connsiteX2" fmla="*/ 57 w 56"/>
                <a:gd name="connsiteY2" fmla="*/ 0 h 125"/>
                <a:gd name="connsiteX3" fmla="*/ 0 w 56"/>
                <a:gd name="connsiteY3" fmla="*/ 125 h 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25">
                  <a:moveTo>
                    <a:pt x="0" y="125"/>
                  </a:moveTo>
                  <a:lnTo>
                    <a:pt x="57" y="125"/>
                  </a:lnTo>
                  <a:cubicBezTo>
                    <a:pt x="57" y="125"/>
                    <a:pt x="57" y="46"/>
                    <a:pt x="57" y="0"/>
                  </a:cubicBezTo>
                  <a:lnTo>
                    <a:pt x="0" y="125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025F9AA9-090B-4709-70D6-747E7D2EDE5E}"/>
                </a:ext>
              </a:extLst>
            </p:cNvPr>
            <p:cNvSpPr/>
            <p:nvPr/>
          </p:nvSpPr>
          <p:spPr bwMode="gray">
            <a:xfrm>
              <a:off x="1013066" y="4830411"/>
              <a:ext cx="14" cy="37"/>
            </a:xfrm>
            <a:custGeom>
              <a:avLst/>
              <a:gdLst>
                <a:gd name="connsiteX0" fmla="*/ 57 w 56"/>
                <a:gd name="connsiteY0" fmla="*/ 148 h 147"/>
                <a:gd name="connsiteX1" fmla="*/ 57 w 56"/>
                <a:gd name="connsiteY1" fmla="*/ 0 h 147"/>
                <a:gd name="connsiteX2" fmla="*/ 0 w 56"/>
                <a:gd name="connsiteY2" fmla="*/ 0 h 147"/>
                <a:gd name="connsiteX3" fmla="*/ 57 w 56"/>
                <a:gd name="connsiteY3" fmla="*/ 148 h 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47">
                  <a:moveTo>
                    <a:pt x="57" y="148"/>
                  </a:moveTo>
                  <a:cubicBezTo>
                    <a:pt x="57" y="148"/>
                    <a:pt x="57" y="46"/>
                    <a:pt x="57" y="0"/>
                  </a:cubicBezTo>
                  <a:lnTo>
                    <a:pt x="0" y="0"/>
                  </a:lnTo>
                  <a:lnTo>
                    <a:pt x="57" y="148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BBBB58A-35CB-9E40-9C41-54BC23098C30}"/>
                </a:ext>
              </a:extLst>
            </p:cNvPr>
            <p:cNvSpPr/>
            <p:nvPr/>
          </p:nvSpPr>
          <p:spPr bwMode="gray">
            <a:xfrm>
              <a:off x="783005" y="4799352"/>
              <a:ext cx="146271" cy="124150"/>
            </a:xfrm>
            <a:custGeom>
              <a:avLst/>
              <a:gdLst>
                <a:gd name="connsiteX0" fmla="*/ 138281 w 580712"/>
                <a:gd name="connsiteY0" fmla="*/ 492880 h 492890"/>
                <a:gd name="connsiteX1" fmla="*/ 183654 w 580712"/>
                <a:gd name="connsiteY1" fmla="*/ 391587 h 492890"/>
                <a:gd name="connsiteX2" fmla="*/ 396820 w 580712"/>
                <a:gd name="connsiteY2" fmla="*/ 391587 h 492890"/>
                <a:gd name="connsiteX3" fmla="*/ 441886 w 580712"/>
                <a:gd name="connsiteY3" fmla="*/ 492754 h 492890"/>
                <a:gd name="connsiteX4" fmla="*/ 580713 w 580712"/>
                <a:gd name="connsiteY4" fmla="*/ 492754 h 492890"/>
                <a:gd name="connsiteX5" fmla="*/ 348523 w 580712"/>
                <a:gd name="connsiteY5" fmla="*/ 0 h 492890"/>
                <a:gd name="connsiteX6" fmla="*/ 232190 w 580712"/>
                <a:gd name="connsiteY6" fmla="*/ 0 h 492890"/>
                <a:gd name="connsiteX7" fmla="*/ 0 w 580712"/>
                <a:gd name="connsiteY7" fmla="*/ 492891 h 492890"/>
                <a:gd name="connsiteX8" fmla="*/ 138269 w 580712"/>
                <a:gd name="connsiteY8" fmla="*/ 492868 h 492890"/>
                <a:gd name="connsiteX9" fmla="*/ 290192 w 580712"/>
                <a:gd name="connsiteY9" fmla="*/ 152229 h 492890"/>
                <a:gd name="connsiteX10" fmla="*/ 364543 w 580712"/>
                <a:gd name="connsiteY10" fmla="*/ 319033 h 492890"/>
                <a:gd name="connsiteX11" fmla="*/ 215522 w 580712"/>
                <a:gd name="connsiteY11" fmla="*/ 319147 h 492890"/>
                <a:gd name="connsiteX12" fmla="*/ 290180 w 580712"/>
                <a:gd name="connsiteY12" fmla="*/ 152229 h 492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0712" h="492890">
                  <a:moveTo>
                    <a:pt x="138281" y="492880"/>
                  </a:moveTo>
                  <a:lnTo>
                    <a:pt x="183654" y="391587"/>
                  </a:lnTo>
                  <a:lnTo>
                    <a:pt x="396820" y="391587"/>
                  </a:lnTo>
                  <a:lnTo>
                    <a:pt x="441886" y="492754"/>
                  </a:lnTo>
                  <a:lnTo>
                    <a:pt x="580713" y="492754"/>
                  </a:lnTo>
                  <a:lnTo>
                    <a:pt x="348523" y="0"/>
                  </a:lnTo>
                  <a:lnTo>
                    <a:pt x="232190" y="0"/>
                  </a:lnTo>
                  <a:lnTo>
                    <a:pt x="0" y="492891"/>
                  </a:lnTo>
                  <a:lnTo>
                    <a:pt x="138269" y="492868"/>
                  </a:lnTo>
                  <a:close/>
                  <a:moveTo>
                    <a:pt x="290192" y="152229"/>
                  </a:moveTo>
                  <a:lnTo>
                    <a:pt x="364543" y="319033"/>
                  </a:lnTo>
                  <a:lnTo>
                    <a:pt x="215522" y="319147"/>
                  </a:lnTo>
                  <a:lnTo>
                    <a:pt x="290180" y="152229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FE9D5F9F-4E00-CCA7-DEE0-E4FEED5B08A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412000" y="655586"/>
            <a:ext cx="2577834" cy="213183"/>
            <a:chOff x="1151970" y="4799186"/>
            <a:chExt cx="1510114" cy="124884"/>
          </a:xfrm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E9A5EFFA-FC87-21AA-7ADE-EAD205695F4B}"/>
                </a:ext>
              </a:extLst>
            </p:cNvPr>
            <p:cNvSpPr/>
            <p:nvPr/>
          </p:nvSpPr>
          <p:spPr bwMode="gray">
            <a:xfrm>
              <a:off x="2169164" y="4817375"/>
              <a:ext cx="61198" cy="88394"/>
            </a:xfrm>
            <a:custGeom>
              <a:avLst/>
              <a:gdLst>
                <a:gd name="connsiteX0" fmla="*/ 191959 w 242964"/>
                <a:gd name="connsiteY0" fmla="*/ 0 h 350935"/>
                <a:gd name="connsiteX1" fmla="*/ 51028 w 242964"/>
                <a:gd name="connsiteY1" fmla="*/ 0 h 350935"/>
                <a:gd name="connsiteX2" fmla="*/ 0 w 242964"/>
                <a:gd name="connsiteY2" fmla="*/ 51016 h 350935"/>
                <a:gd name="connsiteX3" fmla="*/ 0 w 242964"/>
                <a:gd name="connsiteY3" fmla="*/ 299908 h 350935"/>
                <a:gd name="connsiteX4" fmla="*/ 51028 w 242964"/>
                <a:gd name="connsiteY4" fmla="*/ 350935 h 350935"/>
                <a:gd name="connsiteX5" fmla="*/ 191959 w 242964"/>
                <a:gd name="connsiteY5" fmla="*/ 350935 h 350935"/>
                <a:gd name="connsiteX6" fmla="*/ 242964 w 242964"/>
                <a:gd name="connsiteY6" fmla="*/ 299908 h 350935"/>
                <a:gd name="connsiteX7" fmla="*/ 242964 w 242964"/>
                <a:gd name="connsiteY7" fmla="*/ 51028 h 350935"/>
                <a:gd name="connsiteX8" fmla="*/ 191959 w 242964"/>
                <a:gd name="connsiteY8" fmla="*/ 0 h 35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964" h="350935">
                  <a:moveTo>
                    <a:pt x="191959" y="0"/>
                  </a:moveTo>
                  <a:lnTo>
                    <a:pt x="51028" y="0"/>
                  </a:lnTo>
                  <a:cubicBezTo>
                    <a:pt x="22858" y="0"/>
                    <a:pt x="0" y="22846"/>
                    <a:pt x="0" y="51016"/>
                  </a:cubicBezTo>
                  <a:lnTo>
                    <a:pt x="0" y="299908"/>
                  </a:lnTo>
                  <a:cubicBezTo>
                    <a:pt x="0" y="328078"/>
                    <a:pt x="22858" y="350935"/>
                    <a:pt x="51028" y="350935"/>
                  </a:cubicBezTo>
                  <a:lnTo>
                    <a:pt x="191959" y="350935"/>
                  </a:lnTo>
                  <a:cubicBezTo>
                    <a:pt x="220130" y="350935"/>
                    <a:pt x="242964" y="328078"/>
                    <a:pt x="242964" y="299908"/>
                  </a:cubicBezTo>
                  <a:lnTo>
                    <a:pt x="242964" y="51028"/>
                  </a:lnTo>
                  <a:cubicBezTo>
                    <a:pt x="242964" y="22846"/>
                    <a:pt x="220130" y="0"/>
                    <a:pt x="191959" y="0"/>
                  </a:cubicBezTo>
                  <a:close/>
                </a:path>
              </a:pathLst>
            </a:custGeom>
            <a:noFill/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72D4BF95-B13F-97D5-EAC5-82BF0BF8F552}"/>
                </a:ext>
              </a:extLst>
            </p:cNvPr>
            <p:cNvSpPr/>
            <p:nvPr/>
          </p:nvSpPr>
          <p:spPr bwMode="gray">
            <a:xfrm>
              <a:off x="2281806" y="4799240"/>
              <a:ext cx="123076" cy="124658"/>
            </a:xfrm>
            <a:custGeom>
              <a:avLst/>
              <a:gdLst>
                <a:gd name="connsiteX0" fmla="*/ 370140 w 488624"/>
                <a:gd name="connsiteY0" fmla="*/ 11 h 494904"/>
                <a:gd name="connsiteX1" fmla="*/ 370140 w 488624"/>
                <a:gd name="connsiteY1" fmla="*/ 313424 h 494904"/>
                <a:gd name="connsiteX2" fmla="*/ 146120 w 488624"/>
                <a:gd name="connsiteY2" fmla="*/ 11 h 494904"/>
                <a:gd name="connsiteX3" fmla="*/ 637 w 488624"/>
                <a:gd name="connsiteY3" fmla="*/ 11 h 494904"/>
                <a:gd name="connsiteX4" fmla="*/ 0 w 488624"/>
                <a:gd name="connsiteY4" fmla="*/ 494905 h 494904"/>
                <a:gd name="connsiteX5" fmla="*/ 131705 w 488624"/>
                <a:gd name="connsiteY5" fmla="*/ 494882 h 494904"/>
                <a:gd name="connsiteX6" fmla="*/ 131068 w 488624"/>
                <a:gd name="connsiteY6" fmla="*/ 199514 h 494904"/>
                <a:gd name="connsiteX7" fmla="*/ 352153 w 488624"/>
                <a:gd name="connsiteY7" fmla="*/ 494882 h 494904"/>
                <a:gd name="connsiteX8" fmla="*/ 488625 w 488624"/>
                <a:gd name="connsiteY8" fmla="*/ 494882 h 494904"/>
                <a:gd name="connsiteX9" fmla="*/ 487942 w 488624"/>
                <a:gd name="connsiteY9" fmla="*/ 0 h 494904"/>
                <a:gd name="connsiteX10" fmla="*/ 370152 w 488624"/>
                <a:gd name="connsiteY10" fmla="*/ 0 h 494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624" h="494904">
                  <a:moveTo>
                    <a:pt x="370140" y="11"/>
                  </a:moveTo>
                  <a:lnTo>
                    <a:pt x="370140" y="313424"/>
                  </a:lnTo>
                  <a:cubicBezTo>
                    <a:pt x="303162" y="211824"/>
                    <a:pt x="213099" y="101634"/>
                    <a:pt x="146120" y="11"/>
                  </a:cubicBezTo>
                  <a:lnTo>
                    <a:pt x="637" y="11"/>
                  </a:lnTo>
                  <a:lnTo>
                    <a:pt x="0" y="494905"/>
                  </a:lnTo>
                  <a:lnTo>
                    <a:pt x="131705" y="494882"/>
                  </a:lnTo>
                  <a:lnTo>
                    <a:pt x="131068" y="199514"/>
                  </a:lnTo>
                  <a:lnTo>
                    <a:pt x="352153" y="494882"/>
                  </a:lnTo>
                  <a:lnTo>
                    <a:pt x="488625" y="494882"/>
                  </a:lnTo>
                  <a:lnTo>
                    <a:pt x="487942" y="0"/>
                  </a:lnTo>
                  <a:lnTo>
                    <a:pt x="370152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7921D6E1-F56D-C112-4919-6B6FEDE296D7}"/>
                </a:ext>
              </a:extLst>
            </p:cNvPr>
            <p:cNvSpPr/>
            <p:nvPr/>
          </p:nvSpPr>
          <p:spPr bwMode="gray">
            <a:xfrm>
              <a:off x="1966345" y="4799243"/>
              <a:ext cx="108782" cy="124649"/>
            </a:xfrm>
            <a:custGeom>
              <a:avLst/>
              <a:gdLst>
                <a:gd name="connsiteX0" fmla="*/ 0 w 431874"/>
                <a:gd name="connsiteY0" fmla="*/ 66979 h 494870"/>
                <a:gd name="connsiteX1" fmla="*/ 157350 w 431874"/>
                <a:gd name="connsiteY1" fmla="*/ 67479 h 494870"/>
                <a:gd name="connsiteX2" fmla="*/ 157053 w 431874"/>
                <a:gd name="connsiteY2" fmla="*/ 494233 h 494870"/>
                <a:gd name="connsiteX3" fmla="*/ 277313 w 431874"/>
                <a:gd name="connsiteY3" fmla="*/ 494871 h 494870"/>
                <a:gd name="connsiteX4" fmla="*/ 277130 w 431874"/>
                <a:gd name="connsiteY4" fmla="*/ 66979 h 494870"/>
                <a:gd name="connsiteX5" fmla="*/ 431874 w 431874"/>
                <a:gd name="connsiteY5" fmla="*/ 66979 h 494870"/>
                <a:gd name="connsiteX6" fmla="*/ 431874 w 431874"/>
                <a:gd name="connsiteY6" fmla="*/ 0 h 494870"/>
                <a:gd name="connsiteX7" fmla="*/ 0 w 431874"/>
                <a:gd name="connsiteY7" fmla="*/ 0 h 494870"/>
                <a:gd name="connsiteX8" fmla="*/ 0 w 431874"/>
                <a:gd name="connsiteY8" fmla="*/ 66979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1874" h="494870">
                  <a:moveTo>
                    <a:pt x="0" y="66979"/>
                  </a:moveTo>
                  <a:lnTo>
                    <a:pt x="157350" y="67479"/>
                  </a:lnTo>
                  <a:lnTo>
                    <a:pt x="157053" y="494233"/>
                  </a:lnTo>
                  <a:lnTo>
                    <a:pt x="277313" y="494871"/>
                  </a:lnTo>
                  <a:lnTo>
                    <a:pt x="277130" y="66979"/>
                  </a:lnTo>
                  <a:lnTo>
                    <a:pt x="431874" y="66979"/>
                  </a:lnTo>
                  <a:lnTo>
                    <a:pt x="431874" y="0"/>
                  </a:lnTo>
                  <a:lnTo>
                    <a:pt x="0" y="0"/>
                  </a:lnTo>
                  <a:lnTo>
                    <a:pt x="0" y="66979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9A17A814-4851-931F-5B41-4BCB63073258}"/>
                </a:ext>
              </a:extLst>
            </p:cNvPr>
            <p:cNvSpPr/>
            <p:nvPr/>
          </p:nvSpPr>
          <p:spPr bwMode="gray">
            <a:xfrm>
              <a:off x="1718399" y="4799186"/>
              <a:ext cx="123041" cy="124709"/>
            </a:xfrm>
            <a:custGeom>
              <a:avLst/>
              <a:gdLst>
                <a:gd name="connsiteX0" fmla="*/ 369844 w 488487"/>
                <a:gd name="connsiteY0" fmla="*/ 313413 h 495109"/>
                <a:gd name="connsiteX1" fmla="*/ 145824 w 488487"/>
                <a:gd name="connsiteY1" fmla="*/ 0 h 495109"/>
                <a:gd name="connsiteX2" fmla="*/ 318 w 488487"/>
                <a:gd name="connsiteY2" fmla="*/ 0 h 495109"/>
                <a:gd name="connsiteX3" fmla="*/ 0 w 488487"/>
                <a:gd name="connsiteY3" fmla="*/ 495109 h 495109"/>
                <a:gd name="connsiteX4" fmla="*/ 130157 w 488487"/>
                <a:gd name="connsiteY4" fmla="*/ 494882 h 495109"/>
                <a:gd name="connsiteX5" fmla="*/ 130783 w 488487"/>
                <a:gd name="connsiteY5" fmla="*/ 199514 h 495109"/>
                <a:gd name="connsiteX6" fmla="*/ 351868 w 488487"/>
                <a:gd name="connsiteY6" fmla="*/ 494882 h 495109"/>
                <a:gd name="connsiteX7" fmla="*/ 488328 w 488487"/>
                <a:gd name="connsiteY7" fmla="*/ 494882 h 495109"/>
                <a:gd name="connsiteX8" fmla="*/ 488488 w 488487"/>
                <a:gd name="connsiteY8" fmla="*/ 0 h 495109"/>
                <a:gd name="connsiteX9" fmla="*/ 369844 w 488487"/>
                <a:gd name="connsiteY9" fmla="*/ 0 h 495109"/>
                <a:gd name="connsiteX10" fmla="*/ 369844 w 488487"/>
                <a:gd name="connsiteY10" fmla="*/ 313413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487" h="495109">
                  <a:moveTo>
                    <a:pt x="369844" y="313413"/>
                  </a:moveTo>
                  <a:cubicBezTo>
                    <a:pt x="302866" y="211813"/>
                    <a:pt x="212803" y="101623"/>
                    <a:pt x="145824" y="0"/>
                  </a:cubicBezTo>
                  <a:lnTo>
                    <a:pt x="318" y="0"/>
                  </a:lnTo>
                  <a:lnTo>
                    <a:pt x="0" y="495109"/>
                  </a:lnTo>
                  <a:lnTo>
                    <a:pt x="130157" y="494882"/>
                  </a:lnTo>
                  <a:lnTo>
                    <a:pt x="130783" y="199514"/>
                  </a:lnTo>
                  <a:lnTo>
                    <a:pt x="351868" y="494882"/>
                  </a:lnTo>
                  <a:lnTo>
                    <a:pt x="488328" y="494882"/>
                  </a:lnTo>
                  <a:lnTo>
                    <a:pt x="488488" y="0"/>
                  </a:lnTo>
                  <a:lnTo>
                    <a:pt x="369844" y="0"/>
                  </a:lnTo>
                  <a:lnTo>
                    <a:pt x="369844" y="31341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EFCE9B7D-5895-C5CC-42DB-4229874F71C7}"/>
                </a:ext>
              </a:extLst>
            </p:cNvPr>
            <p:cNvSpPr/>
            <p:nvPr/>
          </p:nvSpPr>
          <p:spPr bwMode="gray">
            <a:xfrm>
              <a:off x="2561447" y="4799243"/>
              <a:ext cx="100637" cy="124827"/>
            </a:xfrm>
            <a:custGeom>
              <a:avLst/>
              <a:gdLst>
                <a:gd name="connsiteX0" fmla="*/ 121328 w 399539"/>
                <a:gd name="connsiteY0" fmla="*/ 428893 h 495575"/>
                <a:gd name="connsiteX1" fmla="*/ 121328 w 399539"/>
                <a:gd name="connsiteY1" fmla="*/ 0 h 495575"/>
                <a:gd name="connsiteX2" fmla="*/ 1229 w 399539"/>
                <a:gd name="connsiteY2" fmla="*/ 0 h 495575"/>
                <a:gd name="connsiteX3" fmla="*/ 0 w 399539"/>
                <a:gd name="connsiteY3" fmla="*/ 495576 h 495575"/>
                <a:gd name="connsiteX4" fmla="*/ 399539 w 399539"/>
                <a:gd name="connsiteY4" fmla="*/ 495576 h 495575"/>
                <a:gd name="connsiteX5" fmla="*/ 399539 w 399539"/>
                <a:gd name="connsiteY5" fmla="*/ 428597 h 495575"/>
                <a:gd name="connsiteX6" fmla="*/ 121328 w 399539"/>
                <a:gd name="connsiteY6" fmla="*/ 428893 h 49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9539" h="495575">
                  <a:moveTo>
                    <a:pt x="121328" y="428893"/>
                  </a:moveTo>
                  <a:lnTo>
                    <a:pt x="121328" y="0"/>
                  </a:lnTo>
                  <a:lnTo>
                    <a:pt x="1229" y="0"/>
                  </a:lnTo>
                  <a:lnTo>
                    <a:pt x="0" y="495576"/>
                  </a:lnTo>
                  <a:lnTo>
                    <a:pt x="399539" y="495576"/>
                  </a:lnTo>
                  <a:lnTo>
                    <a:pt x="399539" y="428597"/>
                  </a:lnTo>
                  <a:lnTo>
                    <a:pt x="121328" y="42889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DD131FB-42C0-BD8E-565E-2BB5119EE831}"/>
                </a:ext>
              </a:extLst>
            </p:cNvPr>
            <p:cNvSpPr/>
            <p:nvPr/>
          </p:nvSpPr>
          <p:spPr bwMode="gray">
            <a:xfrm>
              <a:off x="1336379" y="4799243"/>
              <a:ext cx="108784" cy="124649"/>
            </a:xfrm>
            <a:custGeom>
              <a:avLst/>
              <a:gdLst>
                <a:gd name="connsiteX0" fmla="*/ 0 w 431885"/>
                <a:gd name="connsiteY0" fmla="*/ 66979 h 494870"/>
                <a:gd name="connsiteX1" fmla="*/ 157349 w 431885"/>
                <a:gd name="connsiteY1" fmla="*/ 67479 h 494870"/>
                <a:gd name="connsiteX2" fmla="*/ 157042 w 431885"/>
                <a:gd name="connsiteY2" fmla="*/ 494233 h 494870"/>
                <a:gd name="connsiteX3" fmla="*/ 277324 w 431885"/>
                <a:gd name="connsiteY3" fmla="*/ 494871 h 494870"/>
                <a:gd name="connsiteX4" fmla="*/ 277153 w 431885"/>
                <a:gd name="connsiteY4" fmla="*/ 66979 h 494870"/>
                <a:gd name="connsiteX5" fmla="*/ 431885 w 431885"/>
                <a:gd name="connsiteY5" fmla="*/ 66979 h 494870"/>
                <a:gd name="connsiteX6" fmla="*/ 431885 w 431885"/>
                <a:gd name="connsiteY6" fmla="*/ 0 h 494870"/>
                <a:gd name="connsiteX7" fmla="*/ 0 w 431885"/>
                <a:gd name="connsiteY7" fmla="*/ 0 h 494870"/>
                <a:gd name="connsiteX8" fmla="*/ 0 w 431885"/>
                <a:gd name="connsiteY8" fmla="*/ 66979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1885" h="494870">
                  <a:moveTo>
                    <a:pt x="0" y="66979"/>
                  </a:moveTo>
                  <a:lnTo>
                    <a:pt x="157349" y="67479"/>
                  </a:lnTo>
                  <a:lnTo>
                    <a:pt x="157042" y="494233"/>
                  </a:lnTo>
                  <a:lnTo>
                    <a:pt x="277324" y="494871"/>
                  </a:lnTo>
                  <a:lnTo>
                    <a:pt x="277153" y="66979"/>
                  </a:lnTo>
                  <a:lnTo>
                    <a:pt x="431885" y="66979"/>
                  </a:lnTo>
                  <a:lnTo>
                    <a:pt x="431885" y="0"/>
                  </a:lnTo>
                  <a:lnTo>
                    <a:pt x="0" y="0"/>
                  </a:lnTo>
                  <a:lnTo>
                    <a:pt x="0" y="66979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1E335E40-6976-5E51-3224-5FFEE6FCC9BE}"/>
                </a:ext>
              </a:extLst>
            </p:cNvPr>
            <p:cNvSpPr/>
            <p:nvPr/>
          </p:nvSpPr>
          <p:spPr bwMode="gray">
            <a:xfrm>
              <a:off x="1457377" y="4799243"/>
              <a:ext cx="107039" cy="124489"/>
            </a:xfrm>
            <a:custGeom>
              <a:avLst/>
              <a:gdLst>
                <a:gd name="connsiteX0" fmla="*/ 0 w 424956"/>
                <a:gd name="connsiteY0" fmla="*/ 494233 h 494233"/>
                <a:gd name="connsiteX1" fmla="*/ 424956 w 424956"/>
                <a:gd name="connsiteY1" fmla="*/ 494233 h 494233"/>
                <a:gd name="connsiteX2" fmla="*/ 424956 w 424956"/>
                <a:gd name="connsiteY2" fmla="*/ 429564 h 494233"/>
                <a:gd name="connsiteX3" fmla="*/ 125379 w 424956"/>
                <a:gd name="connsiteY3" fmla="*/ 428893 h 494233"/>
                <a:gd name="connsiteX4" fmla="*/ 124730 w 424956"/>
                <a:gd name="connsiteY4" fmla="*/ 284048 h 494233"/>
                <a:gd name="connsiteX5" fmla="*/ 374156 w 424956"/>
                <a:gd name="connsiteY5" fmla="*/ 284048 h 494233"/>
                <a:gd name="connsiteX6" fmla="*/ 374156 w 424956"/>
                <a:gd name="connsiteY6" fmla="*/ 212473 h 494233"/>
                <a:gd name="connsiteX7" fmla="*/ 125379 w 424956"/>
                <a:gd name="connsiteY7" fmla="*/ 212962 h 494233"/>
                <a:gd name="connsiteX8" fmla="*/ 124730 w 424956"/>
                <a:gd name="connsiteY8" fmla="*/ 66979 h 494233"/>
                <a:gd name="connsiteX9" fmla="*/ 424956 w 424956"/>
                <a:gd name="connsiteY9" fmla="*/ 66979 h 494233"/>
                <a:gd name="connsiteX10" fmla="*/ 424956 w 424956"/>
                <a:gd name="connsiteY10" fmla="*/ 0 h 494233"/>
                <a:gd name="connsiteX11" fmla="*/ 0 w 424956"/>
                <a:gd name="connsiteY11" fmla="*/ 0 h 494233"/>
                <a:gd name="connsiteX12" fmla="*/ 0 w 424956"/>
                <a:gd name="connsiteY12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4956" h="494233">
                  <a:moveTo>
                    <a:pt x="0" y="494233"/>
                  </a:moveTo>
                  <a:lnTo>
                    <a:pt x="424956" y="494233"/>
                  </a:lnTo>
                  <a:lnTo>
                    <a:pt x="424956" y="429564"/>
                  </a:lnTo>
                  <a:lnTo>
                    <a:pt x="125379" y="428893"/>
                  </a:lnTo>
                  <a:lnTo>
                    <a:pt x="124730" y="284048"/>
                  </a:lnTo>
                  <a:lnTo>
                    <a:pt x="374156" y="284048"/>
                  </a:lnTo>
                  <a:lnTo>
                    <a:pt x="374156" y="212473"/>
                  </a:lnTo>
                  <a:lnTo>
                    <a:pt x="125379" y="212962"/>
                  </a:lnTo>
                  <a:lnTo>
                    <a:pt x="124730" y="66979"/>
                  </a:lnTo>
                  <a:lnTo>
                    <a:pt x="424956" y="66979"/>
                  </a:lnTo>
                  <a:lnTo>
                    <a:pt x="424956" y="0"/>
                  </a:lnTo>
                  <a:lnTo>
                    <a:pt x="0" y="0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45B98A21-8E82-FCA3-0715-7527E76A0932}"/>
                </a:ext>
              </a:extLst>
            </p:cNvPr>
            <p:cNvSpPr/>
            <p:nvPr/>
          </p:nvSpPr>
          <p:spPr bwMode="gray">
            <a:xfrm>
              <a:off x="1151970" y="4799469"/>
              <a:ext cx="29087" cy="124489"/>
            </a:xfrm>
            <a:custGeom>
              <a:avLst/>
              <a:gdLst>
                <a:gd name="connsiteX0" fmla="*/ 0 w 115480"/>
                <a:gd name="connsiteY0" fmla="*/ 0 h 494233"/>
                <a:gd name="connsiteX1" fmla="*/ 115480 w 115480"/>
                <a:gd name="connsiteY1" fmla="*/ 0 h 494233"/>
                <a:gd name="connsiteX2" fmla="*/ 115480 w 115480"/>
                <a:gd name="connsiteY2" fmla="*/ 494233 h 494233"/>
                <a:gd name="connsiteX3" fmla="*/ 0 w 115480"/>
                <a:gd name="connsiteY3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480" h="494233">
                  <a:moveTo>
                    <a:pt x="0" y="0"/>
                  </a:moveTo>
                  <a:lnTo>
                    <a:pt x="115480" y="0"/>
                  </a:lnTo>
                  <a:lnTo>
                    <a:pt x="115480" y="494233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F6AAABBC-27AB-72CB-8DC1-6A42E4C590C8}"/>
                </a:ext>
              </a:extLst>
            </p:cNvPr>
            <p:cNvSpPr/>
            <p:nvPr/>
          </p:nvSpPr>
          <p:spPr bwMode="gray">
            <a:xfrm>
              <a:off x="1201556" y="4799240"/>
              <a:ext cx="123079" cy="124658"/>
            </a:xfrm>
            <a:custGeom>
              <a:avLst/>
              <a:gdLst>
                <a:gd name="connsiteX0" fmla="*/ 370163 w 488635"/>
                <a:gd name="connsiteY0" fmla="*/ 11 h 494904"/>
                <a:gd name="connsiteX1" fmla="*/ 370163 w 488635"/>
                <a:gd name="connsiteY1" fmla="*/ 313424 h 494904"/>
                <a:gd name="connsiteX2" fmla="*/ 146142 w 488635"/>
                <a:gd name="connsiteY2" fmla="*/ 11 h 494904"/>
                <a:gd name="connsiteX3" fmla="*/ 637 w 488635"/>
                <a:gd name="connsiteY3" fmla="*/ 11 h 494904"/>
                <a:gd name="connsiteX4" fmla="*/ 0 w 488635"/>
                <a:gd name="connsiteY4" fmla="*/ 494905 h 494904"/>
                <a:gd name="connsiteX5" fmla="*/ 131716 w 488635"/>
                <a:gd name="connsiteY5" fmla="*/ 494882 h 494904"/>
                <a:gd name="connsiteX6" fmla="*/ 131079 w 488635"/>
                <a:gd name="connsiteY6" fmla="*/ 199514 h 494904"/>
                <a:gd name="connsiteX7" fmla="*/ 352164 w 488635"/>
                <a:gd name="connsiteY7" fmla="*/ 494882 h 494904"/>
                <a:gd name="connsiteX8" fmla="*/ 488636 w 488635"/>
                <a:gd name="connsiteY8" fmla="*/ 494882 h 494904"/>
                <a:gd name="connsiteX9" fmla="*/ 487942 w 488635"/>
                <a:gd name="connsiteY9" fmla="*/ 0 h 494904"/>
                <a:gd name="connsiteX10" fmla="*/ 370152 w 488635"/>
                <a:gd name="connsiteY10" fmla="*/ 0 h 494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635" h="494904">
                  <a:moveTo>
                    <a:pt x="370163" y="11"/>
                  </a:moveTo>
                  <a:lnTo>
                    <a:pt x="370163" y="313424"/>
                  </a:lnTo>
                  <a:cubicBezTo>
                    <a:pt x="303196" y="211824"/>
                    <a:pt x="213121" y="101634"/>
                    <a:pt x="146142" y="11"/>
                  </a:cubicBezTo>
                  <a:lnTo>
                    <a:pt x="637" y="11"/>
                  </a:lnTo>
                  <a:lnTo>
                    <a:pt x="0" y="494905"/>
                  </a:lnTo>
                  <a:lnTo>
                    <a:pt x="131716" y="494882"/>
                  </a:lnTo>
                  <a:lnTo>
                    <a:pt x="131079" y="199514"/>
                  </a:lnTo>
                  <a:lnTo>
                    <a:pt x="352164" y="494882"/>
                  </a:lnTo>
                  <a:lnTo>
                    <a:pt x="488636" y="494882"/>
                  </a:lnTo>
                  <a:lnTo>
                    <a:pt x="487942" y="0"/>
                  </a:lnTo>
                  <a:lnTo>
                    <a:pt x="370152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1D289FD8-DC76-F0C2-BD93-F469F8063BB2}"/>
                </a:ext>
              </a:extLst>
            </p:cNvPr>
            <p:cNvSpPr/>
            <p:nvPr/>
          </p:nvSpPr>
          <p:spPr bwMode="gray">
            <a:xfrm>
              <a:off x="2085942" y="4799469"/>
              <a:ext cx="31414" cy="124489"/>
            </a:xfrm>
            <a:custGeom>
              <a:avLst/>
              <a:gdLst>
                <a:gd name="connsiteX0" fmla="*/ 0 w 124718"/>
                <a:gd name="connsiteY0" fmla="*/ 0 h 494233"/>
                <a:gd name="connsiteX1" fmla="*/ 124719 w 124718"/>
                <a:gd name="connsiteY1" fmla="*/ 0 h 494233"/>
                <a:gd name="connsiteX2" fmla="*/ 124719 w 124718"/>
                <a:gd name="connsiteY2" fmla="*/ 494233 h 494233"/>
                <a:gd name="connsiteX3" fmla="*/ 0 w 124718"/>
                <a:gd name="connsiteY3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18" h="494233">
                  <a:moveTo>
                    <a:pt x="0" y="0"/>
                  </a:moveTo>
                  <a:lnTo>
                    <a:pt x="124719" y="0"/>
                  </a:lnTo>
                  <a:lnTo>
                    <a:pt x="124719" y="494233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50A62C1-0BAD-77FC-BD1B-733565974A0D}"/>
                </a:ext>
              </a:extLst>
            </p:cNvPr>
            <p:cNvSpPr/>
            <p:nvPr/>
          </p:nvSpPr>
          <p:spPr bwMode="gray">
            <a:xfrm>
              <a:off x="1580123" y="4799467"/>
              <a:ext cx="126819" cy="124489"/>
            </a:xfrm>
            <a:custGeom>
              <a:avLst/>
              <a:gdLst>
                <a:gd name="connsiteX0" fmla="*/ 387866 w 503483"/>
                <a:gd name="connsiteY0" fmla="*/ 275048 h 494233"/>
                <a:gd name="connsiteX1" fmla="*/ 489899 w 503483"/>
                <a:gd name="connsiteY1" fmla="*/ 173027 h 494233"/>
                <a:gd name="connsiteX2" fmla="*/ 489899 w 503483"/>
                <a:gd name="connsiteY2" fmla="*/ 102032 h 494233"/>
                <a:gd name="connsiteX3" fmla="*/ 387866 w 503483"/>
                <a:gd name="connsiteY3" fmla="*/ 0 h 494233"/>
                <a:gd name="connsiteX4" fmla="*/ 0 w 503483"/>
                <a:gd name="connsiteY4" fmla="*/ 0 h 494233"/>
                <a:gd name="connsiteX5" fmla="*/ 0 w 503483"/>
                <a:gd name="connsiteY5" fmla="*/ 494233 h 494233"/>
                <a:gd name="connsiteX6" fmla="*/ 134458 w 503483"/>
                <a:gd name="connsiteY6" fmla="*/ 493983 h 494233"/>
                <a:gd name="connsiteX7" fmla="*/ 133958 w 503483"/>
                <a:gd name="connsiteY7" fmla="*/ 274832 h 494233"/>
                <a:gd name="connsiteX8" fmla="*/ 198626 w 503483"/>
                <a:gd name="connsiteY8" fmla="*/ 274832 h 494233"/>
                <a:gd name="connsiteX9" fmla="*/ 357989 w 503483"/>
                <a:gd name="connsiteY9" fmla="*/ 494233 h 494233"/>
                <a:gd name="connsiteX10" fmla="*/ 503484 w 503483"/>
                <a:gd name="connsiteY10" fmla="*/ 494006 h 494233"/>
                <a:gd name="connsiteX11" fmla="*/ 345930 w 503483"/>
                <a:gd name="connsiteY11" fmla="*/ 275048 h 494233"/>
                <a:gd name="connsiteX12" fmla="*/ 387878 w 503483"/>
                <a:gd name="connsiteY12" fmla="*/ 275048 h 494233"/>
                <a:gd name="connsiteX13" fmla="*/ 135494 w 503483"/>
                <a:gd name="connsiteY13" fmla="*/ 204577 h 494233"/>
                <a:gd name="connsiteX14" fmla="*/ 135971 w 503483"/>
                <a:gd name="connsiteY14" fmla="*/ 64100 h 494233"/>
                <a:gd name="connsiteX15" fmla="*/ 315905 w 503483"/>
                <a:gd name="connsiteY15" fmla="*/ 64100 h 494233"/>
                <a:gd name="connsiteX16" fmla="*/ 366932 w 503483"/>
                <a:gd name="connsiteY16" fmla="*/ 115116 h 494233"/>
                <a:gd name="connsiteX17" fmla="*/ 366932 w 503483"/>
                <a:gd name="connsiteY17" fmla="*/ 153572 h 494233"/>
                <a:gd name="connsiteX18" fmla="*/ 315905 w 503483"/>
                <a:gd name="connsiteY18" fmla="*/ 204588 h 494233"/>
                <a:gd name="connsiteX19" fmla="*/ 135482 w 503483"/>
                <a:gd name="connsiteY19" fmla="*/ 204588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3483" h="494233">
                  <a:moveTo>
                    <a:pt x="387866" y="275048"/>
                  </a:moveTo>
                  <a:cubicBezTo>
                    <a:pt x="444196" y="275048"/>
                    <a:pt x="489899" y="229379"/>
                    <a:pt x="489899" y="173027"/>
                  </a:cubicBezTo>
                  <a:lnTo>
                    <a:pt x="489899" y="102032"/>
                  </a:lnTo>
                  <a:cubicBezTo>
                    <a:pt x="489899" y="45680"/>
                    <a:pt x="444207" y="0"/>
                    <a:pt x="387866" y="0"/>
                  </a:cubicBezTo>
                  <a:lnTo>
                    <a:pt x="0" y="0"/>
                  </a:lnTo>
                  <a:lnTo>
                    <a:pt x="0" y="494233"/>
                  </a:lnTo>
                  <a:lnTo>
                    <a:pt x="134458" y="493983"/>
                  </a:lnTo>
                  <a:lnTo>
                    <a:pt x="133958" y="274832"/>
                  </a:lnTo>
                  <a:lnTo>
                    <a:pt x="198626" y="274832"/>
                  </a:lnTo>
                  <a:lnTo>
                    <a:pt x="357989" y="494233"/>
                  </a:lnTo>
                  <a:lnTo>
                    <a:pt x="503484" y="494006"/>
                  </a:lnTo>
                  <a:lnTo>
                    <a:pt x="345930" y="275048"/>
                  </a:lnTo>
                  <a:lnTo>
                    <a:pt x="387878" y="275048"/>
                  </a:lnTo>
                  <a:close/>
                  <a:moveTo>
                    <a:pt x="135494" y="204577"/>
                  </a:moveTo>
                  <a:lnTo>
                    <a:pt x="135971" y="64100"/>
                  </a:lnTo>
                  <a:lnTo>
                    <a:pt x="315905" y="64100"/>
                  </a:lnTo>
                  <a:cubicBezTo>
                    <a:pt x="344064" y="64100"/>
                    <a:pt x="366932" y="86946"/>
                    <a:pt x="366932" y="115116"/>
                  </a:cubicBezTo>
                  <a:lnTo>
                    <a:pt x="366932" y="153572"/>
                  </a:lnTo>
                  <a:cubicBezTo>
                    <a:pt x="366932" y="181742"/>
                    <a:pt x="344075" y="204588"/>
                    <a:pt x="315905" y="204588"/>
                  </a:cubicBezTo>
                  <a:lnTo>
                    <a:pt x="135482" y="204588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B3F7C0EE-112E-8765-D2CF-CBE23039FD8A}"/>
                </a:ext>
              </a:extLst>
            </p:cNvPr>
            <p:cNvSpPr/>
            <p:nvPr/>
          </p:nvSpPr>
          <p:spPr bwMode="gray">
            <a:xfrm>
              <a:off x="2137440" y="4799243"/>
              <a:ext cx="124652" cy="124649"/>
            </a:xfrm>
            <a:custGeom>
              <a:avLst/>
              <a:gdLst>
                <a:gd name="connsiteX0" fmla="*/ 392861 w 494881"/>
                <a:gd name="connsiteY0" fmla="*/ 0 h 494870"/>
                <a:gd name="connsiteX1" fmla="*/ 102021 w 494881"/>
                <a:gd name="connsiteY1" fmla="*/ 0 h 494870"/>
                <a:gd name="connsiteX2" fmla="*/ 0 w 494881"/>
                <a:gd name="connsiteY2" fmla="*/ 102021 h 494870"/>
                <a:gd name="connsiteX3" fmla="*/ 0 w 494881"/>
                <a:gd name="connsiteY3" fmla="*/ 392850 h 494870"/>
                <a:gd name="connsiteX4" fmla="*/ 102021 w 494881"/>
                <a:gd name="connsiteY4" fmla="*/ 494871 h 494870"/>
                <a:gd name="connsiteX5" fmla="*/ 392861 w 494881"/>
                <a:gd name="connsiteY5" fmla="*/ 494871 h 494870"/>
                <a:gd name="connsiteX6" fmla="*/ 494882 w 494881"/>
                <a:gd name="connsiteY6" fmla="*/ 392850 h 494870"/>
                <a:gd name="connsiteX7" fmla="*/ 494882 w 494881"/>
                <a:gd name="connsiteY7" fmla="*/ 102032 h 494870"/>
                <a:gd name="connsiteX8" fmla="*/ 392861 w 494881"/>
                <a:gd name="connsiteY8" fmla="*/ 0 h 494870"/>
                <a:gd name="connsiteX9" fmla="*/ 368912 w 494881"/>
                <a:gd name="connsiteY9" fmla="*/ 371892 h 494870"/>
                <a:gd name="connsiteX10" fmla="*/ 317907 w 494881"/>
                <a:gd name="connsiteY10" fmla="*/ 422920 h 494870"/>
                <a:gd name="connsiteX11" fmla="*/ 176975 w 494881"/>
                <a:gd name="connsiteY11" fmla="*/ 422920 h 494870"/>
                <a:gd name="connsiteX12" fmla="*/ 125947 w 494881"/>
                <a:gd name="connsiteY12" fmla="*/ 371892 h 494870"/>
                <a:gd name="connsiteX13" fmla="*/ 125947 w 494881"/>
                <a:gd name="connsiteY13" fmla="*/ 123001 h 494870"/>
                <a:gd name="connsiteX14" fmla="*/ 176975 w 494881"/>
                <a:gd name="connsiteY14" fmla="*/ 71985 h 494870"/>
                <a:gd name="connsiteX15" fmla="*/ 317907 w 494881"/>
                <a:gd name="connsiteY15" fmla="*/ 71985 h 494870"/>
                <a:gd name="connsiteX16" fmla="*/ 368912 w 494881"/>
                <a:gd name="connsiteY16" fmla="*/ 123012 h 494870"/>
                <a:gd name="connsiteX17" fmla="*/ 368912 w 494881"/>
                <a:gd name="connsiteY17" fmla="*/ 371892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4881" h="494870">
                  <a:moveTo>
                    <a:pt x="392861" y="0"/>
                  </a:moveTo>
                  <a:lnTo>
                    <a:pt x="102021" y="0"/>
                  </a:lnTo>
                  <a:cubicBezTo>
                    <a:pt x="45669" y="0"/>
                    <a:pt x="-12" y="45669"/>
                    <a:pt x="0" y="102021"/>
                  </a:cubicBezTo>
                  <a:lnTo>
                    <a:pt x="0" y="392850"/>
                  </a:lnTo>
                  <a:cubicBezTo>
                    <a:pt x="0" y="449213"/>
                    <a:pt x="45669" y="494871"/>
                    <a:pt x="102021" y="494871"/>
                  </a:cubicBezTo>
                  <a:lnTo>
                    <a:pt x="392861" y="494871"/>
                  </a:lnTo>
                  <a:cubicBezTo>
                    <a:pt x="449202" y="494871"/>
                    <a:pt x="494882" y="449213"/>
                    <a:pt x="494882" y="392850"/>
                  </a:cubicBezTo>
                  <a:lnTo>
                    <a:pt x="494882" y="102032"/>
                  </a:lnTo>
                  <a:cubicBezTo>
                    <a:pt x="494882" y="45680"/>
                    <a:pt x="449213" y="0"/>
                    <a:pt x="392861" y="0"/>
                  </a:cubicBezTo>
                  <a:close/>
                  <a:moveTo>
                    <a:pt x="368912" y="371892"/>
                  </a:moveTo>
                  <a:cubicBezTo>
                    <a:pt x="368912" y="400063"/>
                    <a:pt x="346077" y="422920"/>
                    <a:pt x="317907" y="422920"/>
                  </a:cubicBezTo>
                  <a:lnTo>
                    <a:pt x="176975" y="422920"/>
                  </a:lnTo>
                  <a:cubicBezTo>
                    <a:pt x="148805" y="422920"/>
                    <a:pt x="125947" y="400063"/>
                    <a:pt x="125947" y="371892"/>
                  </a:cubicBezTo>
                  <a:lnTo>
                    <a:pt x="125947" y="123001"/>
                  </a:lnTo>
                  <a:cubicBezTo>
                    <a:pt x="125947" y="94830"/>
                    <a:pt x="148805" y="71985"/>
                    <a:pt x="176975" y="71985"/>
                  </a:cubicBezTo>
                  <a:lnTo>
                    <a:pt x="317907" y="71985"/>
                  </a:lnTo>
                  <a:cubicBezTo>
                    <a:pt x="346077" y="71985"/>
                    <a:pt x="368912" y="94830"/>
                    <a:pt x="368912" y="123012"/>
                  </a:cubicBezTo>
                  <a:lnTo>
                    <a:pt x="368912" y="371892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D6751A07-2A0E-36A3-3B79-D445EB7A364D}"/>
                </a:ext>
              </a:extLst>
            </p:cNvPr>
            <p:cNvSpPr/>
            <p:nvPr/>
          </p:nvSpPr>
          <p:spPr bwMode="gray">
            <a:xfrm>
              <a:off x="2409957" y="4799243"/>
              <a:ext cx="146644" cy="124471"/>
            </a:xfrm>
            <a:custGeom>
              <a:avLst/>
              <a:gdLst>
                <a:gd name="connsiteX0" fmla="*/ 232781 w 582191"/>
                <a:gd name="connsiteY0" fmla="*/ 0 h 494165"/>
                <a:gd name="connsiteX1" fmla="*/ 0 w 582191"/>
                <a:gd name="connsiteY1" fmla="*/ 494165 h 494165"/>
                <a:gd name="connsiteX2" fmla="*/ 138622 w 582191"/>
                <a:gd name="connsiteY2" fmla="*/ 494142 h 494165"/>
                <a:gd name="connsiteX3" fmla="*/ 184109 w 582191"/>
                <a:gd name="connsiteY3" fmla="*/ 392576 h 494165"/>
                <a:gd name="connsiteX4" fmla="*/ 397844 w 582191"/>
                <a:gd name="connsiteY4" fmla="*/ 392576 h 494165"/>
                <a:gd name="connsiteX5" fmla="*/ 443024 w 582191"/>
                <a:gd name="connsiteY5" fmla="*/ 494029 h 494165"/>
                <a:gd name="connsiteX6" fmla="*/ 582192 w 582191"/>
                <a:gd name="connsiteY6" fmla="*/ 494029 h 494165"/>
                <a:gd name="connsiteX7" fmla="*/ 349411 w 582191"/>
                <a:gd name="connsiteY7" fmla="*/ 0 h 494165"/>
                <a:gd name="connsiteX8" fmla="*/ 232770 w 582191"/>
                <a:gd name="connsiteY8" fmla="*/ 0 h 494165"/>
                <a:gd name="connsiteX9" fmla="*/ 216091 w 582191"/>
                <a:gd name="connsiteY9" fmla="*/ 319966 h 494165"/>
                <a:gd name="connsiteX10" fmla="*/ 290954 w 582191"/>
                <a:gd name="connsiteY10" fmla="*/ 152616 h 494165"/>
                <a:gd name="connsiteX11" fmla="*/ 365498 w 582191"/>
                <a:gd name="connsiteY11" fmla="*/ 319852 h 494165"/>
                <a:gd name="connsiteX12" fmla="*/ 216091 w 582191"/>
                <a:gd name="connsiteY12" fmla="*/ 319966 h 494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2191" h="494165">
                  <a:moveTo>
                    <a:pt x="232781" y="0"/>
                  </a:moveTo>
                  <a:lnTo>
                    <a:pt x="0" y="494165"/>
                  </a:lnTo>
                  <a:lnTo>
                    <a:pt x="138622" y="494142"/>
                  </a:lnTo>
                  <a:lnTo>
                    <a:pt x="184109" y="392576"/>
                  </a:lnTo>
                  <a:lnTo>
                    <a:pt x="397844" y="392576"/>
                  </a:lnTo>
                  <a:lnTo>
                    <a:pt x="443024" y="494029"/>
                  </a:lnTo>
                  <a:lnTo>
                    <a:pt x="582192" y="494029"/>
                  </a:lnTo>
                  <a:lnTo>
                    <a:pt x="349411" y="0"/>
                  </a:lnTo>
                  <a:lnTo>
                    <a:pt x="232770" y="0"/>
                  </a:lnTo>
                  <a:close/>
                  <a:moveTo>
                    <a:pt x="216091" y="319966"/>
                  </a:moveTo>
                  <a:lnTo>
                    <a:pt x="290954" y="152616"/>
                  </a:lnTo>
                  <a:lnTo>
                    <a:pt x="365498" y="319852"/>
                  </a:lnTo>
                  <a:lnTo>
                    <a:pt x="216091" y="319966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2524ADC5-F7D6-B95F-7923-0AECBA542447}"/>
                </a:ext>
              </a:extLst>
            </p:cNvPr>
            <p:cNvSpPr/>
            <p:nvPr/>
          </p:nvSpPr>
          <p:spPr bwMode="gray">
            <a:xfrm>
              <a:off x="1845992" y="4799243"/>
              <a:ext cx="146647" cy="124471"/>
            </a:xfrm>
            <a:custGeom>
              <a:avLst/>
              <a:gdLst>
                <a:gd name="connsiteX0" fmla="*/ 232781 w 582202"/>
                <a:gd name="connsiteY0" fmla="*/ 0 h 494165"/>
                <a:gd name="connsiteX1" fmla="*/ 0 w 582202"/>
                <a:gd name="connsiteY1" fmla="*/ 494165 h 494165"/>
                <a:gd name="connsiteX2" fmla="*/ 138622 w 582202"/>
                <a:gd name="connsiteY2" fmla="*/ 494142 h 494165"/>
                <a:gd name="connsiteX3" fmla="*/ 184131 w 582202"/>
                <a:gd name="connsiteY3" fmla="*/ 392576 h 494165"/>
                <a:gd name="connsiteX4" fmla="*/ 397833 w 582202"/>
                <a:gd name="connsiteY4" fmla="*/ 392576 h 494165"/>
                <a:gd name="connsiteX5" fmla="*/ 443012 w 582202"/>
                <a:gd name="connsiteY5" fmla="*/ 494029 h 494165"/>
                <a:gd name="connsiteX6" fmla="*/ 582203 w 582202"/>
                <a:gd name="connsiteY6" fmla="*/ 494029 h 494165"/>
                <a:gd name="connsiteX7" fmla="*/ 349399 w 582202"/>
                <a:gd name="connsiteY7" fmla="*/ 0 h 494165"/>
                <a:gd name="connsiteX8" fmla="*/ 232770 w 582202"/>
                <a:gd name="connsiteY8" fmla="*/ 0 h 494165"/>
                <a:gd name="connsiteX9" fmla="*/ 216090 w 582202"/>
                <a:gd name="connsiteY9" fmla="*/ 319966 h 494165"/>
                <a:gd name="connsiteX10" fmla="*/ 290942 w 582202"/>
                <a:gd name="connsiteY10" fmla="*/ 152616 h 494165"/>
                <a:gd name="connsiteX11" fmla="*/ 365487 w 582202"/>
                <a:gd name="connsiteY11" fmla="*/ 319852 h 494165"/>
                <a:gd name="connsiteX12" fmla="*/ 216090 w 582202"/>
                <a:gd name="connsiteY12" fmla="*/ 319966 h 494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2202" h="494165">
                  <a:moveTo>
                    <a:pt x="232781" y="0"/>
                  </a:moveTo>
                  <a:lnTo>
                    <a:pt x="0" y="494165"/>
                  </a:lnTo>
                  <a:lnTo>
                    <a:pt x="138622" y="494142"/>
                  </a:lnTo>
                  <a:lnTo>
                    <a:pt x="184131" y="392576"/>
                  </a:lnTo>
                  <a:lnTo>
                    <a:pt x="397833" y="392576"/>
                  </a:lnTo>
                  <a:lnTo>
                    <a:pt x="443012" y="494029"/>
                  </a:lnTo>
                  <a:lnTo>
                    <a:pt x="582203" y="494029"/>
                  </a:lnTo>
                  <a:lnTo>
                    <a:pt x="349399" y="0"/>
                  </a:lnTo>
                  <a:lnTo>
                    <a:pt x="232770" y="0"/>
                  </a:lnTo>
                  <a:close/>
                  <a:moveTo>
                    <a:pt x="216090" y="319966"/>
                  </a:moveTo>
                  <a:lnTo>
                    <a:pt x="290942" y="152616"/>
                  </a:lnTo>
                  <a:lnTo>
                    <a:pt x="365487" y="319852"/>
                  </a:lnTo>
                  <a:lnTo>
                    <a:pt x="216090" y="319966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DA434CD5-2E74-93E1-49B0-49E5472408C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325664" y="0"/>
            <a:ext cx="0" cy="874800"/>
          </a:xfrm>
          <a:prstGeom prst="line">
            <a:avLst/>
          </a:prstGeom>
          <a:ln w="9525">
            <a:solidFill>
              <a:srgbClr val="E200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496DB4A4-A979-B3FC-2D37-F7C701F403F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112000" y="860400"/>
            <a:ext cx="403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31CE9882-513C-A6B9-9496-260506269333}"/>
              </a:ext>
            </a:extLst>
          </p:cNvPr>
          <p:cNvSpPr txBox="1"/>
          <p:nvPr userDrawn="1"/>
        </p:nvSpPr>
        <p:spPr bwMode="gray">
          <a:xfrm>
            <a:off x="576263" y="4910907"/>
            <a:ext cx="6476538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All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rights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reserved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, also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regarding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any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disposal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,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exploitation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,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reproduction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,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editing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,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distribution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,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as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well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as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 in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the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event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of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applications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for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industrial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property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 </a:t>
            </a:r>
            <a:r>
              <a:rPr lang="de-DE" sz="600" dirty="0" err="1">
                <a:solidFill>
                  <a:schemeClr val="accent1"/>
                </a:solidFill>
                <a:latin typeface="Arial" panose="020B0604020202020204" pitchFamily="34" charset="0"/>
              </a:rPr>
              <a:t>rights</a:t>
            </a:r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.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1B3C25A5-78DD-8509-F21E-496513085BC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121138" y="4910907"/>
            <a:ext cx="0" cy="232593"/>
          </a:xfrm>
          <a:prstGeom prst="line">
            <a:avLst/>
          </a:prstGeom>
          <a:ln w="9525">
            <a:solidFill>
              <a:srgbClr val="E200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816DDBDC-261A-AC46-341F-8EC97935E1F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195836" y="4910907"/>
            <a:ext cx="1232710" cy="9233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© 2023 HYDAC International GmbH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AF387669-EBFD-515B-16D2-189E3941BA1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76263" y="4673194"/>
            <a:ext cx="8567737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04942B3E-AF9B-0C87-9B5B-037C7658539A}"/>
              </a:ext>
            </a:extLst>
          </p:cNvPr>
          <p:cNvSpPr txBox="1"/>
          <p:nvPr userDrawn="1"/>
        </p:nvSpPr>
        <p:spPr bwMode="gray">
          <a:xfrm>
            <a:off x="66678" y="4903764"/>
            <a:ext cx="25463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fld id="{32E94CFB-AE89-45BA-9EC0-C30924367499}" type="slidenum">
              <a:rPr lang="de-DE" sz="700" b="1" spc="20" noProof="0" smtClean="0">
                <a:solidFill>
                  <a:srgbClr val="E2001A"/>
                </a:solidFill>
                <a:latin typeface="Arial" panose="020B0604020202020204" pitchFamily="34" charset="0"/>
              </a:rPr>
              <a:t>‹nº›</a:t>
            </a:fld>
            <a:endParaRPr lang="de-DE" sz="700" b="1" spc="20" noProof="0" dirty="0">
              <a:solidFill>
                <a:srgbClr val="E2001A"/>
              </a:solidFill>
              <a:latin typeface="Arial" panose="020B0604020202020204" pitchFamily="34" charset="0"/>
            </a:endParaRP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496DB4A4-A979-B3FC-2D37-F7C701F403F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1979815"/>
            <a:ext cx="230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9873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19" userDrawn="1">
          <p15:clr>
            <a:srgbClr val="FBAE40"/>
          </p15:clr>
        </p15:guide>
        <p15:guide id="2" orient="horz" pos="826" userDrawn="1">
          <p15:clr>
            <a:srgbClr val="FBAE40"/>
          </p15:clr>
        </p15:guide>
        <p15:guide id="3" orient="horz" pos="1507" userDrawn="1">
          <p15:clr>
            <a:srgbClr val="FBAE40"/>
          </p15:clr>
        </p15:guide>
        <p15:guide id="4" pos="32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+ 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6262" y="2716214"/>
            <a:ext cx="1835151" cy="1727195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8A0B615-42A3-4E41-3B5B-D0AC82513DC7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2627311" y="2716214"/>
            <a:ext cx="1836740" cy="1727194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6102D6F-9CFA-C51E-4C06-0DD7B7CE1E9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76263" y="1058863"/>
            <a:ext cx="1835150" cy="144145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5391674-0E23-5949-2BA6-5F7FC21132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2627313" y="1058863"/>
            <a:ext cx="1836737" cy="144145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6D431FC-410F-0F80-4180-760F023805D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679950" y="1058862"/>
            <a:ext cx="1836738" cy="1441449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12A6B6E-D5E0-28AC-3D50-E74E4655022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732588" y="1058862"/>
            <a:ext cx="1835150" cy="1441449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1504BB6-1E7D-D0B2-4167-C2269F55BC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4679948" y="2716213"/>
            <a:ext cx="1836739" cy="1727193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D15D2A69-E58F-FBB6-D5FF-450AFE0ECC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732586" y="2716213"/>
            <a:ext cx="1835151" cy="1727193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9586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63" userDrawn="1">
          <p15:clr>
            <a:srgbClr val="FBAE40"/>
          </p15:clr>
        </p15:guide>
        <p15:guide id="2" orient="horz" pos="667" userDrawn="1">
          <p15:clr>
            <a:srgbClr val="FBAE40"/>
          </p15:clr>
        </p15:guide>
        <p15:guide id="5" pos="2812" userDrawn="1">
          <p15:clr>
            <a:srgbClr val="FBAE40"/>
          </p15:clr>
        </p15:guide>
        <p15:guide id="6" pos="2948" userDrawn="1">
          <p15:clr>
            <a:srgbClr val="FBAE40"/>
          </p15:clr>
        </p15:guide>
        <p15:guide id="7" orient="horz" pos="1575" userDrawn="1">
          <p15:clr>
            <a:srgbClr val="FBAE40"/>
          </p15:clr>
        </p15:guide>
        <p15:guide id="8" orient="horz" pos="1711" userDrawn="1">
          <p15:clr>
            <a:srgbClr val="FBAE40"/>
          </p15:clr>
        </p15:guide>
        <p15:guide id="9" pos="1655" userDrawn="1">
          <p15:clr>
            <a:srgbClr val="FBAE40"/>
          </p15:clr>
        </p15:guide>
        <p15:guide id="10" pos="1519" userDrawn="1">
          <p15:clr>
            <a:srgbClr val="FBAE40"/>
          </p15:clr>
        </p15:guide>
        <p15:guide id="11" pos="4241" userDrawn="1">
          <p15:clr>
            <a:srgbClr val="FBAE40"/>
          </p15:clr>
        </p15:guide>
        <p15:guide id="12" pos="410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+ 1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6262" y="1058864"/>
            <a:ext cx="3239838" cy="3384546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6102D6F-9CFA-C51E-4C06-0DD7B7CE1E9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032250" y="1058862"/>
            <a:ext cx="2519750" cy="1659721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5391674-0E23-5949-2BA6-5F7FC21132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6624000" y="1058862"/>
            <a:ext cx="2520000" cy="1659721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6D431FC-410F-0F80-4180-760F023805D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032250" y="2790585"/>
            <a:ext cx="2519750" cy="165282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12A6B6E-D5E0-28AC-3D50-E74E4655022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624000" y="2790585"/>
            <a:ext cx="2519750" cy="165282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9305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63" userDrawn="1">
          <p15:clr>
            <a:srgbClr val="FBAE40"/>
          </p15:clr>
        </p15:guide>
        <p15:guide id="2" orient="horz" pos="667" userDrawn="1">
          <p15:clr>
            <a:srgbClr val="FBAE40"/>
          </p15:clr>
        </p15:guide>
        <p15:guide id="5" pos="2540" userDrawn="1">
          <p15:clr>
            <a:srgbClr val="FBAE40"/>
          </p15:clr>
        </p15:guide>
        <p15:guide id="6" pos="2404" userDrawn="1">
          <p15:clr>
            <a:srgbClr val="FBAE40"/>
          </p15:clr>
        </p15:guide>
        <p15:guide id="7" orient="horz" pos="1756" userDrawn="1">
          <p15:clr>
            <a:srgbClr val="FBAE40"/>
          </p15:clr>
        </p15:guide>
        <p15:guide id="8" orient="horz" pos="1711" userDrawn="1">
          <p15:clr>
            <a:srgbClr val="FBAE40"/>
          </p15:clr>
        </p15:guide>
        <p15:guide id="9" pos="4173" userDrawn="1">
          <p15:clr>
            <a:srgbClr val="FBAE40"/>
          </p15:clr>
        </p15:guide>
        <p15:guide id="10" pos="412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+ 1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679952" y="1058864"/>
            <a:ext cx="3887789" cy="3384546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6102D6F-9CFA-C51E-4C06-0DD7B7CE1E9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76261" y="1058862"/>
            <a:ext cx="3887789" cy="3384551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892329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63" userDrawn="1">
          <p15:clr>
            <a:srgbClr val="FBAE40"/>
          </p15:clr>
        </p15:guide>
        <p15:guide id="2" orient="horz" pos="667" userDrawn="1">
          <p15:clr>
            <a:srgbClr val="FBAE40"/>
          </p15:clr>
        </p15:guide>
        <p15:guide id="6" pos="2812" userDrawn="1">
          <p15:clr>
            <a:srgbClr val="FBAE40"/>
          </p15:clr>
        </p15:guide>
        <p15:guide id="7" orient="horz" pos="1756" userDrawn="1">
          <p15:clr>
            <a:srgbClr val="FBAE40"/>
          </p15:clr>
        </p15:guide>
        <p15:guide id="8" orient="horz" pos="1711" userDrawn="1">
          <p15:clr>
            <a:srgbClr val="FBAE40"/>
          </p15:clr>
        </p15:guide>
        <p15:guide id="9" pos="294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+ 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6263" y="250825"/>
            <a:ext cx="7994381" cy="470898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6102D6F-9CFA-C51E-4C06-0DD7B7CE1E9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76263" y="1058863"/>
            <a:ext cx="2590715" cy="144145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5391674-0E23-5949-2BA6-5F7FC21132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3276088" y="1058863"/>
            <a:ext cx="2590799" cy="144145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6D431FC-410F-0F80-4180-760F023805D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76938" y="1058863"/>
            <a:ext cx="2590800" cy="1441449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12A6B6E-D5E0-28AC-3D50-E74E4655022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76263" y="2810966"/>
            <a:ext cx="2590800" cy="1441449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1504BB6-1E7D-D0B2-4167-C2269F55BC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975910" y="2499416"/>
            <a:ext cx="2593706" cy="195814"/>
          </a:xfrm>
          <a:solidFill>
            <a:schemeClr val="accent2"/>
          </a:solidFill>
        </p:spPr>
        <p:txBody>
          <a:bodyPr lIns="90000" tIns="36000" rIns="90000" bIns="36000"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D15D2A69-E58F-FBB6-D5FF-450AFE0ECC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76263" y="4251520"/>
            <a:ext cx="2590800" cy="195814"/>
          </a:xfrm>
          <a:solidFill>
            <a:schemeClr val="accent2"/>
          </a:solidFill>
        </p:spPr>
        <p:txBody>
          <a:bodyPr lIns="90000" tIns="36000" rIns="90000" bIns="36000"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6263" y="2499416"/>
            <a:ext cx="2590717" cy="195814"/>
          </a:xfrm>
          <a:solidFill>
            <a:schemeClr val="accent2"/>
          </a:solidFill>
        </p:spPr>
        <p:txBody>
          <a:bodyPr lIns="90000" tIns="36000" rIns="90000" bIns="36000"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8A0B615-42A3-4E41-3B5B-D0AC82513DC7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276086" y="2499416"/>
            <a:ext cx="2590799" cy="195814"/>
          </a:xfrm>
          <a:solidFill>
            <a:schemeClr val="accent2"/>
          </a:solidFill>
        </p:spPr>
        <p:txBody>
          <a:bodyPr lIns="90000" tIns="36000" rIns="90000" bIns="36000"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37B60BA-B67D-D6DD-1032-7697A3C56F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276088" y="2810966"/>
            <a:ext cx="2590799" cy="1441449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85300D3D-0FAF-1959-8AA2-9CE95CCA9E5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975912" y="2810966"/>
            <a:ext cx="2590717" cy="144144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2912587-435A-6C78-A1CE-DC0FF9422EB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3276086" y="4251520"/>
            <a:ext cx="2590801" cy="195814"/>
          </a:xfrm>
          <a:solidFill>
            <a:schemeClr val="accent2"/>
          </a:solidFill>
        </p:spPr>
        <p:txBody>
          <a:bodyPr lIns="90000" tIns="36000" rIns="90000" bIns="36000"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1AC4BD45-AF0F-50B9-24C0-066BEA4B127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5975910" y="4251520"/>
            <a:ext cx="2590718" cy="195814"/>
          </a:xfrm>
          <a:solidFill>
            <a:schemeClr val="accent2"/>
          </a:solidFill>
        </p:spPr>
        <p:txBody>
          <a:bodyPr lIns="90000" tIns="36000" rIns="90000" bIns="36000"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728268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63" userDrawn="1">
          <p15:clr>
            <a:srgbClr val="FBAE40"/>
          </p15:clr>
        </p15:guide>
        <p15:guide id="2" orient="horz" pos="667" userDrawn="1">
          <p15:clr>
            <a:srgbClr val="FBAE40"/>
          </p15:clr>
        </p15:guide>
        <p15:guide id="7" orient="horz" pos="1770" userDrawn="1">
          <p15:clr>
            <a:srgbClr val="FBAE40"/>
          </p15:clr>
        </p15:guide>
        <p15:guide id="8" orient="horz" pos="1698" userDrawn="1">
          <p15:clr>
            <a:srgbClr val="FBAE40"/>
          </p15:clr>
        </p15:guide>
        <p15:guide id="10" pos="1995" userDrawn="1">
          <p15:clr>
            <a:srgbClr val="FBAE40"/>
          </p15:clr>
        </p15:guide>
        <p15:guide id="11" pos="2064" userDrawn="1">
          <p15:clr>
            <a:srgbClr val="FBAE40"/>
          </p15:clr>
        </p15:guide>
        <p15:guide id="12" pos="3765" userDrawn="1">
          <p15:clr>
            <a:srgbClr val="FBAE40"/>
          </p15:clr>
        </p15:guide>
        <p15:guide id="13" pos="3696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Grafik 33" descr="Ein Bild, das Text enthält.&#10;&#10;Automatisch generierte Beschreibung">
            <a:extLst>
              <a:ext uri="{FF2B5EF4-FFF2-40B4-BE49-F238E27FC236}">
                <a16:creationId xmlns:a16="http://schemas.microsoft.com/office/drawing/2014/main" id="{365A07E4-12CD-B1E4-DDDB-0BA18D7A0E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606448"/>
            <a:ext cx="9144000" cy="4537052"/>
          </a:xfrm>
          <a:prstGeom prst="rect">
            <a:avLst/>
          </a:prstGeom>
        </p:spPr>
      </p:pic>
      <p:sp>
        <p:nvSpPr>
          <p:cNvPr id="42" name="Bildplatzhalter 41">
            <a:extLst>
              <a:ext uri="{FF2B5EF4-FFF2-40B4-BE49-F238E27FC236}">
                <a16:creationId xmlns:a16="http://schemas.microsoft.com/office/drawing/2014/main" id="{744EFB81-4661-4DA1-B8C1-B364AF8D26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5112000" y="1068432"/>
            <a:ext cx="4032000" cy="360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411980" y="1620437"/>
            <a:ext cx="6155757" cy="492443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3200"/>
            </a:lvl1pPr>
          </a:lstStyle>
          <a:p>
            <a:r>
              <a:rPr lang="de-DE" dirty="0"/>
              <a:t>Vielen Dank 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411980" y="2099231"/>
            <a:ext cx="6155757" cy="369332"/>
          </a:xfrm>
        </p:spPr>
        <p:txBody>
          <a:bodyPr anchor="t">
            <a:noAutofit/>
          </a:bodyPr>
          <a:lstStyle>
            <a:lvl1pPr marL="0" indent="0" algn="l">
              <a:buNone/>
              <a:defRPr sz="240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für Ihr Interesse</a:t>
            </a:r>
            <a:endParaRPr lang="en-US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FE9D5F9F-4E00-CCA7-DEE0-E4FEED5B08A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411980" y="655586"/>
            <a:ext cx="2577834" cy="213183"/>
            <a:chOff x="1151970" y="4799186"/>
            <a:chExt cx="1510114" cy="124884"/>
          </a:xfrm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E9A5EFFA-FC87-21AA-7ADE-EAD205695F4B}"/>
                </a:ext>
              </a:extLst>
            </p:cNvPr>
            <p:cNvSpPr/>
            <p:nvPr/>
          </p:nvSpPr>
          <p:spPr bwMode="gray">
            <a:xfrm>
              <a:off x="2169164" y="4817375"/>
              <a:ext cx="61198" cy="88394"/>
            </a:xfrm>
            <a:custGeom>
              <a:avLst/>
              <a:gdLst>
                <a:gd name="connsiteX0" fmla="*/ 191959 w 242964"/>
                <a:gd name="connsiteY0" fmla="*/ 0 h 350935"/>
                <a:gd name="connsiteX1" fmla="*/ 51028 w 242964"/>
                <a:gd name="connsiteY1" fmla="*/ 0 h 350935"/>
                <a:gd name="connsiteX2" fmla="*/ 0 w 242964"/>
                <a:gd name="connsiteY2" fmla="*/ 51016 h 350935"/>
                <a:gd name="connsiteX3" fmla="*/ 0 w 242964"/>
                <a:gd name="connsiteY3" fmla="*/ 299908 h 350935"/>
                <a:gd name="connsiteX4" fmla="*/ 51028 w 242964"/>
                <a:gd name="connsiteY4" fmla="*/ 350935 h 350935"/>
                <a:gd name="connsiteX5" fmla="*/ 191959 w 242964"/>
                <a:gd name="connsiteY5" fmla="*/ 350935 h 350935"/>
                <a:gd name="connsiteX6" fmla="*/ 242964 w 242964"/>
                <a:gd name="connsiteY6" fmla="*/ 299908 h 350935"/>
                <a:gd name="connsiteX7" fmla="*/ 242964 w 242964"/>
                <a:gd name="connsiteY7" fmla="*/ 51028 h 350935"/>
                <a:gd name="connsiteX8" fmla="*/ 191959 w 242964"/>
                <a:gd name="connsiteY8" fmla="*/ 0 h 35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964" h="350935">
                  <a:moveTo>
                    <a:pt x="191959" y="0"/>
                  </a:moveTo>
                  <a:lnTo>
                    <a:pt x="51028" y="0"/>
                  </a:lnTo>
                  <a:cubicBezTo>
                    <a:pt x="22858" y="0"/>
                    <a:pt x="0" y="22846"/>
                    <a:pt x="0" y="51016"/>
                  </a:cubicBezTo>
                  <a:lnTo>
                    <a:pt x="0" y="299908"/>
                  </a:lnTo>
                  <a:cubicBezTo>
                    <a:pt x="0" y="328078"/>
                    <a:pt x="22858" y="350935"/>
                    <a:pt x="51028" y="350935"/>
                  </a:cubicBezTo>
                  <a:lnTo>
                    <a:pt x="191959" y="350935"/>
                  </a:lnTo>
                  <a:cubicBezTo>
                    <a:pt x="220130" y="350935"/>
                    <a:pt x="242964" y="328078"/>
                    <a:pt x="242964" y="299908"/>
                  </a:cubicBezTo>
                  <a:lnTo>
                    <a:pt x="242964" y="51028"/>
                  </a:lnTo>
                  <a:cubicBezTo>
                    <a:pt x="242964" y="22846"/>
                    <a:pt x="220130" y="0"/>
                    <a:pt x="191959" y="0"/>
                  </a:cubicBezTo>
                  <a:close/>
                </a:path>
              </a:pathLst>
            </a:custGeom>
            <a:noFill/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72D4BF95-B13F-97D5-EAC5-82BF0BF8F552}"/>
                </a:ext>
              </a:extLst>
            </p:cNvPr>
            <p:cNvSpPr/>
            <p:nvPr/>
          </p:nvSpPr>
          <p:spPr bwMode="gray">
            <a:xfrm>
              <a:off x="2281806" y="4799240"/>
              <a:ext cx="123076" cy="124658"/>
            </a:xfrm>
            <a:custGeom>
              <a:avLst/>
              <a:gdLst>
                <a:gd name="connsiteX0" fmla="*/ 370140 w 488624"/>
                <a:gd name="connsiteY0" fmla="*/ 11 h 494904"/>
                <a:gd name="connsiteX1" fmla="*/ 370140 w 488624"/>
                <a:gd name="connsiteY1" fmla="*/ 313424 h 494904"/>
                <a:gd name="connsiteX2" fmla="*/ 146120 w 488624"/>
                <a:gd name="connsiteY2" fmla="*/ 11 h 494904"/>
                <a:gd name="connsiteX3" fmla="*/ 637 w 488624"/>
                <a:gd name="connsiteY3" fmla="*/ 11 h 494904"/>
                <a:gd name="connsiteX4" fmla="*/ 0 w 488624"/>
                <a:gd name="connsiteY4" fmla="*/ 494905 h 494904"/>
                <a:gd name="connsiteX5" fmla="*/ 131705 w 488624"/>
                <a:gd name="connsiteY5" fmla="*/ 494882 h 494904"/>
                <a:gd name="connsiteX6" fmla="*/ 131068 w 488624"/>
                <a:gd name="connsiteY6" fmla="*/ 199514 h 494904"/>
                <a:gd name="connsiteX7" fmla="*/ 352153 w 488624"/>
                <a:gd name="connsiteY7" fmla="*/ 494882 h 494904"/>
                <a:gd name="connsiteX8" fmla="*/ 488625 w 488624"/>
                <a:gd name="connsiteY8" fmla="*/ 494882 h 494904"/>
                <a:gd name="connsiteX9" fmla="*/ 487942 w 488624"/>
                <a:gd name="connsiteY9" fmla="*/ 0 h 494904"/>
                <a:gd name="connsiteX10" fmla="*/ 370152 w 488624"/>
                <a:gd name="connsiteY10" fmla="*/ 0 h 494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624" h="494904">
                  <a:moveTo>
                    <a:pt x="370140" y="11"/>
                  </a:moveTo>
                  <a:lnTo>
                    <a:pt x="370140" y="313424"/>
                  </a:lnTo>
                  <a:cubicBezTo>
                    <a:pt x="303162" y="211824"/>
                    <a:pt x="213099" y="101634"/>
                    <a:pt x="146120" y="11"/>
                  </a:cubicBezTo>
                  <a:lnTo>
                    <a:pt x="637" y="11"/>
                  </a:lnTo>
                  <a:lnTo>
                    <a:pt x="0" y="494905"/>
                  </a:lnTo>
                  <a:lnTo>
                    <a:pt x="131705" y="494882"/>
                  </a:lnTo>
                  <a:lnTo>
                    <a:pt x="131068" y="199514"/>
                  </a:lnTo>
                  <a:lnTo>
                    <a:pt x="352153" y="494882"/>
                  </a:lnTo>
                  <a:lnTo>
                    <a:pt x="488625" y="494882"/>
                  </a:lnTo>
                  <a:lnTo>
                    <a:pt x="487942" y="0"/>
                  </a:lnTo>
                  <a:lnTo>
                    <a:pt x="370152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7921D6E1-F56D-C112-4919-6B6FEDE296D7}"/>
                </a:ext>
              </a:extLst>
            </p:cNvPr>
            <p:cNvSpPr/>
            <p:nvPr/>
          </p:nvSpPr>
          <p:spPr bwMode="gray">
            <a:xfrm>
              <a:off x="1966345" y="4799243"/>
              <a:ext cx="108782" cy="124649"/>
            </a:xfrm>
            <a:custGeom>
              <a:avLst/>
              <a:gdLst>
                <a:gd name="connsiteX0" fmla="*/ 0 w 431874"/>
                <a:gd name="connsiteY0" fmla="*/ 66979 h 494870"/>
                <a:gd name="connsiteX1" fmla="*/ 157350 w 431874"/>
                <a:gd name="connsiteY1" fmla="*/ 67479 h 494870"/>
                <a:gd name="connsiteX2" fmla="*/ 157053 w 431874"/>
                <a:gd name="connsiteY2" fmla="*/ 494233 h 494870"/>
                <a:gd name="connsiteX3" fmla="*/ 277313 w 431874"/>
                <a:gd name="connsiteY3" fmla="*/ 494871 h 494870"/>
                <a:gd name="connsiteX4" fmla="*/ 277130 w 431874"/>
                <a:gd name="connsiteY4" fmla="*/ 66979 h 494870"/>
                <a:gd name="connsiteX5" fmla="*/ 431874 w 431874"/>
                <a:gd name="connsiteY5" fmla="*/ 66979 h 494870"/>
                <a:gd name="connsiteX6" fmla="*/ 431874 w 431874"/>
                <a:gd name="connsiteY6" fmla="*/ 0 h 494870"/>
                <a:gd name="connsiteX7" fmla="*/ 0 w 431874"/>
                <a:gd name="connsiteY7" fmla="*/ 0 h 494870"/>
                <a:gd name="connsiteX8" fmla="*/ 0 w 431874"/>
                <a:gd name="connsiteY8" fmla="*/ 66979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1874" h="494870">
                  <a:moveTo>
                    <a:pt x="0" y="66979"/>
                  </a:moveTo>
                  <a:lnTo>
                    <a:pt x="157350" y="67479"/>
                  </a:lnTo>
                  <a:lnTo>
                    <a:pt x="157053" y="494233"/>
                  </a:lnTo>
                  <a:lnTo>
                    <a:pt x="277313" y="494871"/>
                  </a:lnTo>
                  <a:lnTo>
                    <a:pt x="277130" y="66979"/>
                  </a:lnTo>
                  <a:lnTo>
                    <a:pt x="431874" y="66979"/>
                  </a:lnTo>
                  <a:lnTo>
                    <a:pt x="431874" y="0"/>
                  </a:lnTo>
                  <a:lnTo>
                    <a:pt x="0" y="0"/>
                  </a:lnTo>
                  <a:lnTo>
                    <a:pt x="0" y="66979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9A17A814-4851-931F-5B41-4BCB63073258}"/>
                </a:ext>
              </a:extLst>
            </p:cNvPr>
            <p:cNvSpPr/>
            <p:nvPr/>
          </p:nvSpPr>
          <p:spPr bwMode="gray">
            <a:xfrm>
              <a:off x="1718399" y="4799186"/>
              <a:ext cx="123041" cy="124709"/>
            </a:xfrm>
            <a:custGeom>
              <a:avLst/>
              <a:gdLst>
                <a:gd name="connsiteX0" fmla="*/ 369844 w 488487"/>
                <a:gd name="connsiteY0" fmla="*/ 313413 h 495109"/>
                <a:gd name="connsiteX1" fmla="*/ 145824 w 488487"/>
                <a:gd name="connsiteY1" fmla="*/ 0 h 495109"/>
                <a:gd name="connsiteX2" fmla="*/ 318 w 488487"/>
                <a:gd name="connsiteY2" fmla="*/ 0 h 495109"/>
                <a:gd name="connsiteX3" fmla="*/ 0 w 488487"/>
                <a:gd name="connsiteY3" fmla="*/ 495109 h 495109"/>
                <a:gd name="connsiteX4" fmla="*/ 130157 w 488487"/>
                <a:gd name="connsiteY4" fmla="*/ 494882 h 495109"/>
                <a:gd name="connsiteX5" fmla="*/ 130783 w 488487"/>
                <a:gd name="connsiteY5" fmla="*/ 199514 h 495109"/>
                <a:gd name="connsiteX6" fmla="*/ 351868 w 488487"/>
                <a:gd name="connsiteY6" fmla="*/ 494882 h 495109"/>
                <a:gd name="connsiteX7" fmla="*/ 488328 w 488487"/>
                <a:gd name="connsiteY7" fmla="*/ 494882 h 495109"/>
                <a:gd name="connsiteX8" fmla="*/ 488488 w 488487"/>
                <a:gd name="connsiteY8" fmla="*/ 0 h 495109"/>
                <a:gd name="connsiteX9" fmla="*/ 369844 w 488487"/>
                <a:gd name="connsiteY9" fmla="*/ 0 h 495109"/>
                <a:gd name="connsiteX10" fmla="*/ 369844 w 488487"/>
                <a:gd name="connsiteY10" fmla="*/ 313413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487" h="495109">
                  <a:moveTo>
                    <a:pt x="369844" y="313413"/>
                  </a:moveTo>
                  <a:cubicBezTo>
                    <a:pt x="302866" y="211813"/>
                    <a:pt x="212803" y="101623"/>
                    <a:pt x="145824" y="0"/>
                  </a:cubicBezTo>
                  <a:lnTo>
                    <a:pt x="318" y="0"/>
                  </a:lnTo>
                  <a:lnTo>
                    <a:pt x="0" y="495109"/>
                  </a:lnTo>
                  <a:lnTo>
                    <a:pt x="130157" y="494882"/>
                  </a:lnTo>
                  <a:lnTo>
                    <a:pt x="130783" y="199514"/>
                  </a:lnTo>
                  <a:lnTo>
                    <a:pt x="351868" y="494882"/>
                  </a:lnTo>
                  <a:lnTo>
                    <a:pt x="488328" y="494882"/>
                  </a:lnTo>
                  <a:lnTo>
                    <a:pt x="488488" y="0"/>
                  </a:lnTo>
                  <a:lnTo>
                    <a:pt x="369844" y="0"/>
                  </a:lnTo>
                  <a:lnTo>
                    <a:pt x="369844" y="31341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EFCE9B7D-5895-C5CC-42DB-4229874F71C7}"/>
                </a:ext>
              </a:extLst>
            </p:cNvPr>
            <p:cNvSpPr/>
            <p:nvPr/>
          </p:nvSpPr>
          <p:spPr bwMode="gray">
            <a:xfrm>
              <a:off x="2561447" y="4799243"/>
              <a:ext cx="100637" cy="124827"/>
            </a:xfrm>
            <a:custGeom>
              <a:avLst/>
              <a:gdLst>
                <a:gd name="connsiteX0" fmla="*/ 121328 w 399539"/>
                <a:gd name="connsiteY0" fmla="*/ 428893 h 495575"/>
                <a:gd name="connsiteX1" fmla="*/ 121328 w 399539"/>
                <a:gd name="connsiteY1" fmla="*/ 0 h 495575"/>
                <a:gd name="connsiteX2" fmla="*/ 1229 w 399539"/>
                <a:gd name="connsiteY2" fmla="*/ 0 h 495575"/>
                <a:gd name="connsiteX3" fmla="*/ 0 w 399539"/>
                <a:gd name="connsiteY3" fmla="*/ 495576 h 495575"/>
                <a:gd name="connsiteX4" fmla="*/ 399539 w 399539"/>
                <a:gd name="connsiteY4" fmla="*/ 495576 h 495575"/>
                <a:gd name="connsiteX5" fmla="*/ 399539 w 399539"/>
                <a:gd name="connsiteY5" fmla="*/ 428597 h 495575"/>
                <a:gd name="connsiteX6" fmla="*/ 121328 w 399539"/>
                <a:gd name="connsiteY6" fmla="*/ 428893 h 49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9539" h="495575">
                  <a:moveTo>
                    <a:pt x="121328" y="428893"/>
                  </a:moveTo>
                  <a:lnTo>
                    <a:pt x="121328" y="0"/>
                  </a:lnTo>
                  <a:lnTo>
                    <a:pt x="1229" y="0"/>
                  </a:lnTo>
                  <a:lnTo>
                    <a:pt x="0" y="495576"/>
                  </a:lnTo>
                  <a:lnTo>
                    <a:pt x="399539" y="495576"/>
                  </a:lnTo>
                  <a:lnTo>
                    <a:pt x="399539" y="428597"/>
                  </a:lnTo>
                  <a:lnTo>
                    <a:pt x="121328" y="42889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DD131FB-42C0-BD8E-565E-2BB5119EE831}"/>
                </a:ext>
              </a:extLst>
            </p:cNvPr>
            <p:cNvSpPr/>
            <p:nvPr/>
          </p:nvSpPr>
          <p:spPr bwMode="gray">
            <a:xfrm>
              <a:off x="1336379" y="4799243"/>
              <a:ext cx="108784" cy="124649"/>
            </a:xfrm>
            <a:custGeom>
              <a:avLst/>
              <a:gdLst>
                <a:gd name="connsiteX0" fmla="*/ 0 w 431885"/>
                <a:gd name="connsiteY0" fmla="*/ 66979 h 494870"/>
                <a:gd name="connsiteX1" fmla="*/ 157349 w 431885"/>
                <a:gd name="connsiteY1" fmla="*/ 67479 h 494870"/>
                <a:gd name="connsiteX2" fmla="*/ 157042 w 431885"/>
                <a:gd name="connsiteY2" fmla="*/ 494233 h 494870"/>
                <a:gd name="connsiteX3" fmla="*/ 277324 w 431885"/>
                <a:gd name="connsiteY3" fmla="*/ 494871 h 494870"/>
                <a:gd name="connsiteX4" fmla="*/ 277153 w 431885"/>
                <a:gd name="connsiteY4" fmla="*/ 66979 h 494870"/>
                <a:gd name="connsiteX5" fmla="*/ 431885 w 431885"/>
                <a:gd name="connsiteY5" fmla="*/ 66979 h 494870"/>
                <a:gd name="connsiteX6" fmla="*/ 431885 w 431885"/>
                <a:gd name="connsiteY6" fmla="*/ 0 h 494870"/>
                <a:gd name="connsiteX7" fmla="*/ 0 w 431885"/>
                <a:gd name="connsiteY7" fmla="*/ 0 h 494870"/>
                <a:gd name="connsiteX8" fmla="*/ 0 w 431885"/>
                <a:gd name="connsiteY8" fmla="*/ 66979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1885" h="494870">
                  <a:moveTo>
                    <a:pt x="0" y="66979"/>
                  </a:moveTo>
                  <a:lnTo>
                    <a:pt x="157349" y="67479"/>
                  </a:lnTo>
                  <a:lnTo>
                    <a:pt x="157042" y="494233"/>
                  </a:lnTo>
                  <a:lnTo>
                    <a:pt x="277324" y="494871"/>
                  </a:lnTo>
                  <a:lnTo>
                    <a:pt x="277153" y="66979"/>
                  </a:lnTo>
                  <a:lnTo>
                    <a:pt x="431885" y="66979"/>
                  </a:lnTo>
                  <a:lnTo>
                    <a:pt x="431885" y="0"/>
                  </a:lnTo>
                  <a:lnTo>
                    <a:pt x="0" y="0"/>
                  </a:lnTo>
                  <a:lnTo>
                    <a:pt x="0" y="66979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1E335E40-6976-5E51-3224-5FFEE6FCC9BE}"/>
                </a:ext>
              </a:extLst>
            </p:cNvPr>
            <p:cNvSpPr/>
            <p:nvPr/>
          </p:nvSpPr>
          <p:spPr bwMode="gray">
            <a:xfrm>
              <a:off x="1457377" y="4799243"/>
              <a:ext cx="107039" cy="124489"/>
            </a:xfrm>
            <a:custGeom>
              <a:avLst/>
              <a:gdLst>
                <a:gd name="connsiteX0" fmla="*/ 0 w 424956"/>
                <a:gd name="connsiteY0" fmla="*/ 494233 h 494233"/>
                <a:gd name="connsiteX1" fmla="*/ 424956 w 424956"/>
                <a:gd name="connsiteY1" fmla="*/ 494233 h 494233"/>
                <a:gd name="connsiteX2" fmla="*/ 424956 w 424956"/>
                <a:gd name="connsiteY2" fmla="*/ 429564 h 494233"/>
                <a:gd name="connsiteX3" fmla="*/ 125379 w 424956"/>
                <a:gd name="connsiteY3" fmla="*/ 428893 h 494233"/>
                <a:gd name="connsiteX4" fmla="*/ 124730 w 424956"/>
                <a:gd name="connsiteY4" fmla="*/ 284048 h 494233"/>
                <a:gd name="connsiteX5" fmla="*/ 374156 w 424956"/>
                <a:gd name="connsiteY5" fmla="*/ 284048 h 494233"/>
                <a:gd name="connsiteX6" fmla="*/ 374156 w 424956"/>
                <a:gd name="connsiteY6" fmla="*/ 212473 h 494233"/>
                <a:gd name="connsiteX7" fmla="*/ 125379 w 424956"/>
                <a:gd name="connsiteY7" fmla="*/ 212962 h 494233"/>
                <a:gd name="connsiteX8" fmla="*/ 124730 w 424956"/>
                <a:gd name="connsiteY8" fmla="*/ 66979 h 494233"/>
                <a:gd name="connsiteX9" fmla="*/ 424956 w 424956"/>
                <a:gd name="connsiteY9" fmla="*/ 66979 h 494233"/>
                <a:gd name="connsiteX10" fmla="*/ 424956 w 424956"/>
                <a:gd name="connsiteY10" fmla="*/ 0 h 494233"/>
                <a:gd name="connsiteX11" fmla="*/ 0 w 424956"/>
                <a:gd name="connsiteY11" fmla="*/ 0 h 494233"/>
                <a:gd name="connsiteX12" fmla="*/ 0 w 424956"/>
                <a:gd name="connsiteY12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4956" h="494233">
                  <a:moveTo>
                    <a:pt x="0" y="494233"/>
                  </a:moveTo>
                  <a:lnTo>
                    <a:pt x="424956" y="494233"/>
                  </a:lnTo>
                  <a:lnTo>
                    <a:pt x="424956" y="429564"/>
                  </a:lnTo>
                  <a:lnTo>
                    <a:pt x="125379" y="428893"/>
                  </a:lnTo>
                  <a:lnTo>
                    <a:pt x="124730" y="284048"/>
                  </a:lnTo>
                  <a:lnTo>
                    <a:pt x="374156" y="284048"/>
                  </a:lnTo>
                  <a:lnTo>
                    <a:pt x="374156" y="212473"/>
                  </a:lnTo>
                  <a:lnTo>
                    <a:pt x="125379" y="212962"/>
                  </a:lnTo>
                  <a:lnTo>
                    <a:pt x="124730" y="66979"/>
                  </a:lnTo>
                  <a:lnTo>
                    <a:pt x="424956" y="66979"/>
                  </a:lnTo>
                  <a:lnTo>
                    <a:pt x="424956" y="0"/>
                  </a:lnTo>
                  <a:lnTo>
                    <a:pt x="0" y="0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45B98A21-8E82-FCA3-0715-7527E76A0932}"/>
                </a:ext>
              </a:extLst>
            </p:cNvPr>
            <p:cNvSpPr/>
            <p:nvPr/>
          </p:nvSpPr>
          <p:spPr bwMode="gray">
            <a:xfrm>
              <a:off x="1151970" y="4799469"/>
              <a:ext cx="29087" cy="124489"/>
            </a:xfrm>
            <a:custGeom>
              <a:avLst/>
              <a:gdLst>
                <a:gd name="connsiteX0" fmla="*/ 0 w 115480"/>
                <a:gd name="connsiteY0" fmla="*/ 0 h 494233"/>
                <a:gd name="connsiteX1" fmla="*/ 115480 w 115480"/>
                <a:gd name="connsiteY1" fmla="*/ 0 h 494233"/>
                <a:gd name="connsiteX2" fmla="*/ 115480 w 115480"/>
                <a:gd name="connsiteY2" fmla="*/ 494233 h 494233"/>
                <a:gd name="connsiteX3" fmla="*/ 0 w 115480"/>
                <a:gd name="connsiteY3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480" h="494233">
                  <a:moveTo>
                    <a:pt x="0" y="0"/>
                  </a:moveTo>
                  <a:lnTo>
                    <a:pt x="115480" y="0"/>
                  </a:lnTo>
                  <a:lnTo>
                    <a:pt x="115480" y="494233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F6AAABBC-27AB-72CB-8DC1-6A42E4C590C8}"/>
                </a:ext>
              </a:extLst>
            </p:cNvPr>
            <p:cNvSpPr/>
            <p:nvPr/>
          </p:nvSpPr>
          <p:spPr bwMode="gray">
            <a:xfrm>
              <a:off x="1201556" y="4799240"/>
              <a:ext cx="123079" cy="124658"/>
            </a:xfrm>
            <a:custGeom>
              <a:avLst/>
              <a:gdLst>
                <a:gd name="connsiteX0" fmla="*/ 370163 w 488635"/>
                <a:gd name="connsiteY0" fmla="*/ 11 h 494904"/>
                <a:gd name="connsiteX1" fmla="*/ 370163 w 488635"/>
                <a:gd name="connsiteY1" fmla="*/ 313424 h 494904"/>
                <a:gd name="connsiteX2" fmla="*/ 146142 w 488635"/>
                <a:gd name="connsiteY2" fmla="*/ 11 h 494904"/>
                <a:gd name="connsiteX3" fmla="*/ 637 w 488635"/>
                <a:gd name="connsiteY3" fmla="*/ 11 h 494904"/>
                <a:gd name="connsiteX4" fmla="*/ 0 w 488635"/>
                <a:gd name="connsiteY4" fmla="*/ 494905 h 494904"/>
                <a:gd name="connsiteX5" fmla="*/ 131716 w 488635"/>
                <a:gd name="connsiteY5" fmla="*/ 494882 h 494904"/>
                <a:gd name="connsiteX6" fmla="*/ 131079 w 488635"/>
                <a:gd name="connsiteY6" fmla="*/ 199514 h 494904"/>
                <a:gd name="connsiteX7" fmla="*/ 352164 w 488635"/>
                <a:gd name="connsiteY7" fmla="*/ 494882 h 494904"/>
                <a:gd name="connsiteX8" fmla="*/ 488636 w 488635"/>
                <a:gd name="connsiteY8" fmla="*/ 494882 h 494904"/>
                <a:gd name="connsiteX9" fmla="*/ 487942 w 488635"/>
                <a:gd name="connsiteY9" fmla="*/ 0 h 494904"/>
                <a:gd name="connsiteX10" fmla="*/ 370152 w 488635"/>
                <a:gd name="connsiteY10" fmla="*/ 0 h 494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635" h="494904">
                  <a:moveTo>
                    <a:pt x="370163" y="11"/>
                  </a:moveTo>
                  <a:lnTo>
                    <a:pt x="370163" y="313424"/>
                  </a:lnTo>
                  <a:cubicBezTo>
                    <a:pt x="303196" y="211824"/>
                    <a:pt x="213121" y="101634"/>
                    <a:pt x="146142" y="11"/>
                  </a:cubicBezTo>
                  <a:lnTo>
                    <a:pt x="637" y="11"/>
                  </a:lnTo>
                  <a:lnTo>
                    <a:pt x="0" y="494905"/>
                  </a:lnTo>
                  <a:lnTo>
                    <a:pt x="131716" y="494882"/>
                  </a:lnTo>
                  <a:lnTo>
                    <a:pt x="131079" y="199514"/>
                  </a:lnTo>
                  <a:lnTo>
                    <a:pt x="352164" y="494882"/>
                  </a:lnTo>
                  <a:lnTo>
                    <a:pt x="488636" y="494882"/>
                  </a:lnTo>
                  <a:lnTo>
                    <a:pt x="487942" y="0"/>
                  </a:lnTo>
                  <a:lnTo>
                    <a:pt x="370152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1D289FD8-DC76-F0C2-BD93-F469F8063BB2}"/>
                </a:ext>
              </a:extLst>
            </p:cNvPr>
            <p:cNvSpPr/>
            <p:nvPr/>
          </p:nvSpPr>
          <p:spPr bwMode="gray">
            <a:xfrm>
              <a:off x="2085942" y="4799469"/>
              <a:ext cx="31414" cy="124489"/>
            </a:xfrm>
            <a:custGeom>
              <a:avLst/>
              <a:gdLst>
                <a:gd name="connsiteX0" fmla="*/ 0 w 124718"/>
                <a:gd name="connsiteY0" fmla="*/ 0 h 494233"/>
                <a:gd name="connsiteX1" fmla="*/ 124719 w 124718"/>
                <a:gd name="connsiteY1" fmla="*/ 0 h 494233"/>
                <a:gd name="connsiteX2" fmla="*/ 124719 w 124718"/>
                <a:gd name="connsiteY2" fmla="*/ 494233 h 494233"/>
                <a:gd name="connsiteX3" fmla="*/ 0 w 124718"/>
                <a:gd name="connsiteY3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18" h="494233">
                  <a:moveTo>
                    <a:pt x="0" y="0"/>
                  </a:moveTo>
                  <a:lnTo>
                    <a:pt x="124719" y="0"/>
                  </a:lnTo>
                  <a:lnTo>
                    <a:pt x="124719" y="494233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50A62C1-0BAD-77FC-BD1B-733565974A0D}"/>
                </a:ext>
              </a:extLst>
            </p:cNvPr>
            <p:cNvSpPr/>
            <p:nvPr/>
          </p:nvSpPr>
          <p:spPr bwMode="gray">
            <a:xfrm>
              <a:off x="1580123" y="4799467"/>
              <a:ext cx="126819" cy="124489"/>
            </a:xfrm>
            <a:custGeom>
              <a:avLst/>
              <a:gdLst>
                <a:gd name="connsiteX0" fmla="*/ 387866 w 503483"/>
                <a:gd name="connsiteY0" fmla="*/ 275048 h 494233"/>
                <a:gd name="connsiteX1" fmla="*/ 489899 w 503483"/>
                <a:gd name="connsiteY1" fmla="*/ 173027 h 494233"/>
                <a:gd name="connsiteX2" fmla="*/ 489899 w 503483"/>
                <a:gd name="connsiteY2" fmla="*/ 102032 h 494233"/>
                <a:gd name="connsiteX3" fmla="*/ 387866 w 503483"/>
                <a:gd name="connsiteY3" fmla="*/ 0 h 494233"/>
                <a:gd name="connsiteX4" fmla="*/ 0 w 503483"/>
                <a:gd name="connsiteY4" fmla="*/ 0 h 494233"/>
                <a:gd name="connsiteX5" fmla="*/ 0 w 503483"/>
                <a:gd name="connsiteY5" fmla="*/ 494233 h 494233"/>
                <a:gd name="connsiteX6" fmla="*/ 134458 w 503483"/>
                <a:gd name="connsiteY6" fmla="*/ 493983 h 494233"/>
                <a:gd name="connsiteX7" fmla="*/ 133958 w 503483"/>
                <a:gd name="connsiteY7" fmla="*/ 274832 h 494233"/>
                <a:gd name="connsiteX8" fmla="*/ 198626 w 503483"/>
                <a:gd name="connsiteY8" fmla="*/ 274832 h 494233"/>
                <a:gd name="connsiteX9" fmla="*/ 357989 w 503483"/>
                <a:gd name="connsiteY9" fmla="*/ 494233 h 494233"/>
                <a:gd name="connsiteX10" fmla="*/ 503484 w 503483"/>
                <a:gd name="connsiteY10" fmla="*/ 494006 h 494233"/>
                <a:gd name="connsiteX11" fmla="*/ 345930 w 503483"/>
                <a:gd name="connsiteY11" fmla="*/ 275048 h 494233"/>
                <a:gd name="connsiteX12" fmla="*/ 387878 w 503483"/>
                <a:gd name="connsiteY12" fmla="*/ 275048 h 494233"/>
                <a:gd name="connsiteX13" fmla="*/ 135494 w 503483"/>
                <a:gd name="connsiteY13" fmla="*/ 204577 h 494233"/>
                <a:gd name="connsiteX14" fmla="*/ 135971 w 503483"/>
                <a:gd name="connsiteY14" fmla="*/ 64100 h 494233"/>
                <a:gd name="connsiteX15" fmla="*/ 315905 w 503483"/>
                <a:gd name="connsiteY15" fmla="*/ 64100 h 494233"/>
                <a:gd name="connsiteX16" fmla="*/ 366932 w 503483"/>
                <a:gd name="connsiteY16" fmla="*/ 115116 h 494233"/>
                <a:gd name="connsiteX17" fmla="*/ 366932 w 503483"/>
                <a:gd name="connsiteY17" fmla="*/ 153572 h 494233"/>
                <a:gd name="connsiteX18" fmla="*/ 315905 w 503483"/>
                <a:gd name="connsiteY18" fmla="*/ 204588 h 494233"/>
                <a:gd name="connsiteX19" fmla="*/ 135482 w 503483"/>
                <a:gd name="connsiteY19" fmla="*/ 204588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3483" h="494233">
                  <a:moveTo>
                    <a:pt x="387866" y="275048"/>
                  </a:moveTo>
                  <a:cubicBezTo>
                    <a:pt x="444196" y="275048"/>
                    <a:pt x="489899" y="229379"/>
                    <a:pt x="489899" y="173027"/>
                  </a:cubicBezTo>
                  <a:lnTo>
                    <a:pt x="489899" y="102032"/>
                  </a:lnTo>
                  <a:cubicBezTo>
                    <a:pt x="489899" y="45680"/>
                    <a:pt x="444207" y="0"/>
                    <a:pt x="387866" y="0"/>
                  </a:cubicBezTo>
                  <a:lnTo>
                    <a:pt x="0" y="0"/>
                  </a:lnTo>
                  <a:lnTo>
                    <a:pt x="0" y="494233"/>
                  </a:lnTo>
                  <a:lnTo>
                    <a:pt x="134458" y="493983"/>
                  </a:lnTo>
                  <a:lnTo>
                    <a:pt x="133958" y="274832"/>
                  </a:lnTo>
                  <a:lnTo>
                    <a:pt x="198626" y="274832"/>
                  </a:lnTo>
                  <a:lnTo>
                    <a:pt x="357989" y="494233"/>
                  </a:lnTo>
                  <a:lnTo>
                    <a:pt x="503484" y="494006"/>
                  </a:lnTo>
                  <a:lnTo>
                    <a:pt x="345930" y="275048"/>
                  </a:lnTo>
                  <a:lnTo>
                    <a:pt x="387878" y="275048"/>
                  </a:lnTo>
                  <a:close/>
                  <a:moveTo>
                    <a:pt x="135494" y="204577"/>
                  </a:moveTo>
                  <a:lnTo>
                    <a:pt x="135971" y="64100"/>
                  </a:lnTo>
                  <a:lnTo>
                    <a:pt x="315905" y="64100"/>
                  </a:lnTo>
                  <a:cubicBezTo>
                    <a:pt x="344064" y="64100"/>
                    <a:pt x="366932" y="86946"/>
                    <a:pt x="366932" y="115116"/>
                  </a:cubicBezTo>
                  <a:lnTo>
                    <a:pt x="366932" y="153572"/>
                  </a:lnTo>
                  <a:cubicBezTo>
                    <a:pt x="366932" y="181742"/>
                    <a:pt x="344075" y="204588"/>
                    <a:pt x="315905" y="204588"/>
                  </a:cubicBezTo>
                  <a:lnTo>
                    <a:pt x="135482" y="204588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B3F7C0EE-112E-8765-D2CF-CBE23039FD8A}"/>
                </a:ext>
              </a:extLst>
            </p:cNvPr>
            <p:cNvSpPr/>
            <p:nvPr/>
          </p:nvSpPr>
          <p:spPr bwMode="gray">
            <a:xfrm>
              <a:off x="2137440" y="4799243"/>
              <a:ext cx="124652" cy="124649"/>
            </a:xfrm>
            <a:custGeom>
              <a:avLst/>
              <a:gdLst>
                <a:gd name="connsiteX0" fmla="*/ 392861 w 494881"/>
                <a:gd name="connsiteY0" fmla="*/ 0 h 494870"/>
                <a:gd name="connsiteX1" fmla="*/ 102021 w 494881"/>
                <a:gd name="connsiteY1" fmla="*/ 0 h 494870"/>
                <a:gd name="connsiteX2" fmla="*/ 0 w 494881"/>
                <a:gd name="connsiteY2" fmla="*/ 102021 h 494870"/>
                <a:gd name="connsiteX3" fmla="*/ 0 w 494881"/>
                <a:gd name="connsiteY3" fmla="*/ 392850 h 494870"/>
                <a:gd name="connsiteX4" fmla="*/ 102021 w 494881"/>
                <a:gd name="connsiteY4" fmla="*/ 494871 h 494870"/>
                <a:gd name="connsiteX5" fmla="*/ 392861 w 494881"/>
                <a:gd name="connsiteY5" fmla="*/ 494871 h 494870"/>
                <a:gd name="connsiteX6" fmla="*/ 494882 w 494881"/>
                <a:gd name="connsiteY6" fmla="*/ 392850 h 494870"/>
                <a:gd name="connsiteX7" fmla="*/ 494882 w 494881"/>
                <a:gd name="connsiteY7" fmla="*/ 102032 h 494870"/>
                <a:gd name="connsiteX8" fmla="*/ 392861 w 494881"/>
                <a:gd name="connsiteY8" fmla="*/ 0 h 494870"/>
                <a:gd name="connsiteX9" fmla="*/ 368912 w 494881"/>
                <a:gd name="connsiteY9" fmla="*/ 371892 h 494870"/>
                <a:gd name="connsiteX10" fmla="*/ 317907 w 494881"/>
                <a:gd name="connsiteY10" fmla="*/ 422920 h 494870"/>
                <a:gd name="connsiteX11" fmla="*/ 176975 w 494881"/>
                <a:gd name="connsiteY11" fmla="*/ 422920 h 494870"/>
                <a:gd name="connsiteX12" fmla="*/ 125947 w 494881"/>
                <a:gd name="connsiteY12" fmla="*/ 371892 h 494870"/>
                <a:gd name="connsiteX13" fmla="*/ 125947 w 494881"/>
                <a:gd name="connsiteY13" fmla="*/ 123001 h 494870"/>
                <a:gd name="connsiteX14" fmla="*/ 176975 w 494881"/>
                <a:gd name="connsiteY14" fmla="*/ 71985 h 494870"/>
                <a:gd name="connsiteX15" fmla="*/ 317907 w 494881"/>
                <a:gd name="connsiteY15" fmla="*/ 71985 h 494870"/>
                <a:gd name="connsiteX16" fmla="*/ 368912 w 494881"/>
                <a:gd name="connsiteY16" fmla="*/ 123012 h 494870"/>
                <a:gd name="connsiteX17" fmla="*/ 368912 w 494881"/>
                <a:gd name="connsiteY17" fmla="*/ 371892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4881" h="494870">
                  <a:moveTo>
                    <a:pt x="392861" y="0"/>
                  </a:moveTo>
                  <a:lnTo>
                    <a:pt x="102021" y="0"/>
                  </a:lnTo>
                  <a:cubicBezTo>
                    <a:pt x="45669" y="0"/>
                    <a:pt x="-12" y="45669"/>
                    <a:pt x="0" y="102021"/>
                  </a:cubicBezTo>
                  <a:lnTo>
                    <a:pt x="0" y="392850"/>
                  </a:lnTo>
                  <a:cubicBezTo>
                    <a:pt x="0" y="449213"/>
                    <a:pt x="45669" y="494871"/>
                    <a:pt x="102021" y="494871"/>
                  </a:cubicBezTo>
                  <a:lnTo>
                    <a:pt x="392861" y="494871"/>
                  </a:lnTo>
                  <a:cubicBezTo>
                    <a:pt x="449202" y="494871"/>
                    <a:pt x="494882" y="449213"/>
                    <a:pt x="494882" y="392850"/>
                  </a:cubicBezTo>
                  <a:lnTo>
                    <a:pt x="494882" y="102032"/>
                  </a:lnTo>
                  <a:cubicBezTo>
                    <a:pt x="494882" y="45680"/>
                    <a:pt x="449213" y="0"/>
                    <a:pt x="392861" y="0"/>
                  </a:cubicBezTo>
                  <a:close/>
                  <a:moveTo>
                    <a:pt x="368912" y="371892"/>
                  </a:moveTo>
                  <a:cubicBezTo>
                    <a:pt x="368912" y="400063"/>
                    <a:pt x="346077" y="422920"/>
                    <a:pt x="317907" y="422920"/>
                  </a:cubicBezTo>
                  <a:lnTo>
                    <a:pt x="176975" y="422920"/>
                  </a:lnTo>
                  <a:cubicBezTo>
                    <a:pt x="148805" y="422920"/>
                    <a:pt x="125947" y="400063"/>
                    <a:pt x="125947" y="371892"/>
                  </a:cubicBezTo>
                  <a:lnTo>
                    <a:pt x="125947" y="123001"/>
                  </a:lnTo>
                  <a:cubicBezTo>
                    <a:pt x="125947" y="94830"/>
                    <a:pt x="148805" y="71985"/>
                    <a:pt x="176975" y="71985"/>
                  </a:cubicBezTo>
                  <a:lnTo>
                    <a:pt x="317907" y="71985"/>
                  </a:lnTo>
                  <a:cubicBezTo>
                    <a:pt x="346077" y="71985"/>
                    <a:pt x="368912" y="94830"/>
                    <a:pt x="368912" y="123012"/>
                  </a:cubicBezTo>
                  <a:lnTo>
                    <a:pt x="368912" y="371892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D6751A07-2A0E-36A3-3B79-D445EB7A364D}"/>
                </a:ext>
              </a:extLst>
            </p:cNvPr>
            <p:cNvSpPr/>
            <p:nvPr/>
          </p:nvSpPr>
          <p:spPr bwMode="gray">
            <a:xfrm>
              <a:off x="2409957" y="4799243"/>
              <a:ext cx="146644" cy="124471"/>
            </a:xfrm>
            <a:custGeom>
              <a:avLst/>
              <a:gdLst>
                <a:gd name="connsiteX0" fmla="*/ 232781 w 582191"/>
                <a:gd name="connsiteY0" fmla="*/ 0 h 494165"/>
                <a:gd name="connsiteX1" fmla="*/ 0 w 582191"/>
                <a:gd name="connsiteY1" fmla="*/ 494165 h 494165"/>
                <a:gd name="connsiteX2" fmla="*/ 138622 w 582191"/>
                <a:gd name="connsiteY2" fmla="*/ 494142 h 494165"/>
                <a:gd name="connsiteX3" fmla="*/ 184109 w 582191"/>
                <a:gd name="connsiteY3" fmla="*/ 392576 h 494165"/>
                <a:gd name="connsiteX4" fmla="*/ 397844 w 582191"/>
                <a:gd name="connsiteY4" fmla="*/ 392576 h 494165"/>
                <a:gd name="connsiteX5" fmla="*/ 443024 w 582191"/>
                <a:gd name="connsiteY5" fmla="*/ 494029 h 494165"/>
                <a:gd name="connsiteX6" fmla="*/ 582192 w 582191"/>
                <a:gd name="connsiteY6" fmla="*/ 494029 h 494165"/>
                <a:gd name="connsiteX7" fmla="*/ 349411 w 582191"/>
                <a:gd name="connsiteY7" fmla="*/ 0 h 494165"/>
                <a:gd name="connsiteX8" fmla="*/ 232770 w 582191"/>
                <a:gd name="connsiteY8" fmla="*/ 0 h 494165"/>
                <a:gd name="connsiteX9" fmla="*/ 216091 w 582191"/>
                <a:gd name="connsiteY9" fmla="*/ 319966 h 494165"/>
                <a:gd name="connsiteX10" fmla="*/ 290954 w 582191"/>
                <a:gd name="connsiteY10" fmla="*/ 152616 h 494165"/>
                <a:gd name="connsiteX11" fmla="*/ 365498 w 582191"/>
                <a:gd name="connsiteY11" fmla="*/ 319852 h 494165"/>
                <a:gd name="connsiteX12" fmla="*/ 216091 w 582191"/>
                <a:gd name="connsiteY12" fmla="*/ 319966 h 494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2191" h="494165">
                  <a:moveTo>
                    <a:pt x="232781" y="0"/>
                  </a:moveTo>
                  <a:lnTo>
                    <a:pt x="0" y="494165"/>
                  </a:lnTo>
                  <a:lnTo>
                    <a:pt x="138622" y="494142"/>
                  </a:lnTo>
                  <a:lnTo>
                    <a:pt x="184109" y="392576"/>
                  </a:lnTo>
                  <a:lnTo>
                    <a:pt x="397844" y="392576"/>
                  </a:lnTo>
                  <a:lnTo>
                    <a:pt x="443024" y="494029"/>
                  </a:lnTo>
                  <a:lnTo>
                    <a:pt x="582192" y="494029"/>
                  </a:lnTo>
                  <a:lnTo>
                    <a:pt x="349411" y="0"/>
                  </a:lnTo>
                  <a:lnTo>
                    <a:pt x="232770" y="0"/>
                  </a:lnTo>
                  <a:close/>
                  <a:moveTo>
                    <a:pt x="216091" y="319966"/>
                  </a:moveTo>
                  <a:lnTo>
                    <a:pt x="290954" y="152616"/>
                  </a:lnTo>
                  <a:lnTo>
                    <a:pt x="365498" y="319852"/>
                  </a:lnTo>
                  <a:lnTo>
                    <a:pt x="216091" y="319966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2524ADC5-F7D6-B95F-7923-0AECBA542447}"/>
                </a:ext>
              </a:extLst>
            </p:cNvPr>
            <p:cNvSpPr/>
            <p:nvPr/>
          </p:nvSpPr>
          <p:spPr bwMode="gray">
            <a:xfrm>
              <a:off x="1845992" y="4799243"/>
              <a:ext cx="146647" cy="124471"/>
            </a:xfrm>
            <a:custGeom>
              <a:avLst/>
              <a:gdLst>
                <a:gd name="connsiteX0" fmla="*/ 232781 w 582202"/>
                <a:gd name="connsiteY0" fmla="*/ 0 h 494165"/>
                <a:gd name="connsiteX1" fmla="*/ 0 w 582202"/>
                <a:gd name="connsiteY1" fmla="*/ 494165 h 494165"/>
                <a:gd name="connsiteX2" fmla="*/ 138622 w 582202"/>
                <a:gd name="connsiteY2" fmla="*/ 494142 h 494165"/>
                <a:gd name="connsiteX3" fmla="*/ 184131 w 582202"/>
                <a:gd name="connsiteY3" fmla="*/ 392576 h 494165"/>
                <a:gd name="connsiteX4" fmla="*/ 397833 w 582202"/>
                <a:gd name="connsiteY4" fmla="*/ 392576 h 494165"/>
                <a:gd name="connsiteX5" fmla="*/ 443012 w 582202"/>
                <a:gd name="connsiteY5" fmla="*/ 494029 h 494165"/>
                <a:gd name="connsiteX6" fmla="*/ 582203 w 582202"/>
                <a:gd name="connsiteY6" fmla="*/ 494029 h 494165"/>
                <a:gd name="connsiteX7" fmla="*/ 349399 w 582202"/>
                <a:gd name="connsiteY7" fmla="*/ 0 h 494165"/>
                <a:gd name="connsiteX8" fmla="*/ 232770 w 582202"/>
                <a:gd name="connsiteY8" fmla="*/ 0 h 494165"/>
                <a:gd name="connsiteX9" fmla="*/ 216090 w 582202"/>
                <a:gd name="connsiteY9" fmla="*/ 319966 h 494165"/>
                <a:gd name="connsiteX10" fmla="*/ 290942 w 582202"/>
                <a:gd name="connsiteY10" fmla="*/ 152616 h 494165"/>
                <a:gd name="connsiteX11" fmla="*/ 365487 w 582202"/>
                <a:gd name="connsiteY11" fmla="*/ 319852 h 494165"/>
                <a:gd name="connsiteX12" fmla="*/ 216090 w 582202"/>
                <a:gd name="connsiteY12" fmla="*/ 319966 h 494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2202" h="494165">
                  <a:moveTo>
                    <a:pt x="232781" y="0"/>
                  </a:moveTo>
                  <a:lnTo>
                    <a:pt x="0" y="494165"/>
                  </a:lnTo>
                  <a:lnTo>
                    <a:pt x="138622" y="494142"/>
                  </a:lnTo>
                  <a:lnTo>
                    <a:pt x="184131" y="392576"/>
                  </a:lnTo>
                  <a:lnTo>
                    <a:pt x="397833" y="392576"/>
                  </a:lnTo>
                  <a:lnTo>
                    <a:pt x="443012" y="494029"/>
                  </a:lnTo>
                  <a:lnTo>
                    <a:pt x="582203" y="494029"/>
                  </a:lnTo>
                  <a:lnTo>
                    <a:pt x="349399" y="0"/>
                  </a:lnTo>
                  <a:lnTo>
                    <a:pt x="232770" y="0"/>
                  </a:lnTo>
                  <a:close/>
                  <a:moveTo>
                    <a:pt x="216090" y="319966"/>
                  </a:moveTo>
                  <a:lnTo>
                    <a:pt x="290942" y="152616"/>
                  </a:lnTo>
                  <a:lnTo>
                    <a:pt x="365487" y="319852"/>
                  </a:lnTo>
                  <a:lnTo>
                    <a:pt x="216090" y="319966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5" name="Textfeld 34">
            <a:extLst>
              <a:ext uri="{FF2B5EF4-FFF2-40B4-BE49-F238E27FC236}">
                <a16:creationId xmlns:a16="http://schemas.microsoft.com/office/drawing/2014/main" id="{31CE9882-513C-A6B9-9496-260506269333}"/>
              </a:ext>
            </a:extLst>
          </p:cNvPr>
          <p:cNvSpPr txBox="1"/>
          <p:nvPr userDrawn="1"/>
        </p:nvSpPr>
        <p:spPr bwMode="gray">
          <a:xfrm>
            <a:off x="576263" y="4910907"/>
            <a:ext cx="6476538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de-DE" sz="600">
                <a:solidFill>
                  <a:schemeClr val="accent1"/>
                </a:solidFill>
                <a:latin typeface="Arial" panose="020B0604020202020204" pitchFamily="34" charset="0"/>
              </a:rPr>
              <a:t>All rights reserved, also regarding any disposal, exploitation, reproduction, editing, distribution, as well as in the event of applications for industrial property rights.</a:t>
            </a:r>
            <a:endParaRPr lang="de-DE" sz="6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1B3C25A5-78DD-8509-F21E-496513085BC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121138" y="4910907"/>
            <a:ext cx="0" cy="232593"/>
          </a:xfrm>
          <a:prstGeom prst="line">
            <a:avLst/>
          </a:prstGeom>
          <a:ln w="9525">
            <a:solidFill>
              <a:srgbClr val="E200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816DDBDC-261A-AC46-341F-8EC97935E1F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195836" y="4910907"/>
            <a:ext cx="1232710" cy="9233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© 2023 HYDAC International GmbH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AF387669-EBFD-515B-16D2-189E3941BA1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76263" y="4673194"/>
            <a:ext cx="8567737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CF04515-3665-DF79-7ADE-6CF4728B42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411413" y="2639550"/>
            <a:ext cx="2701113" cy="153888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Kontakt</a:t>
            </a:r>
            <a:endParaRPr lang="en-US" dirty="0"/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99B873E6-084D-F95B-B8CA-CC3E527D9B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410639" y="2871787"/>
            <a:ext cx="2701112" cy="107580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/>
            </a:lvl1pPr>
            <a:lvl2pPr marL="0" indent="0">
              <a:spcAft>
                <a:spcPts val="600"/>
              </a:spcAft>
              <a:buNone/>
              <a:defRPr/>
            </a:lvl2pPr>
            <a:lvl3pPr marL="360000" indent="0">
              <a:buNone/>
              <a:defRPr/>
            </a:lvl3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Kontaktdaten (Telefon, Mobil, E-Mail, Website)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04942B3E-AF9B-0C87-9B5B-037C7658539A}"/>
              </a:ext>
            </a:extLst>
          </p:cNvPr>
          <p:cNvSpPr txBox="1"/>
          <p:nvPr userDrawn="1"/>
        </p:nvSpPr>
        <p:spPr bwMode="gray">
          <a:xfrm>
            <a:off x="66678" y="4903764"/>
            <a:ext cx="25463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fld id="{32E94CFB-AE89-45BA-9EC0-C30924367499}" type="slidenum">
              <a:rPr lang="de-DE" sz="700" b="1" spc="20" noProof="0" smtClean="0">
                <a:solidFill>
                  <a:srgbClr val="E2001A"/>
                </a:solidFill>
                <a:latin typeface="Arial" panose="020B0604020202020204" pitchFamily="34" charset="0"/>
              </a:rPr>
              <a:t>‹nº›</a:t>
            </a:fld>
            <a:endParaRPr lang="de-DE" sz="700" b="1" spc="20" noProof="0" dirty="0">
              <a:solidFill>
                <a:srgbClr val="E2001A"/>
              </a:solidFill>
              <a:latin typeface="Arial" panose="020B0604020202020204" pitchFamily="34" charset="0"/>
            </a:endParaRPr>
          </a:p>
        </p:txBody>
      </p: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03D71516-721B-6407-B689-B7616712FFBA}"/>
              </a:ext>
            </a:extLst>
          </p:cNvPr>
          <p:cNvGrpSpPr/>
          <p:nvPr userDrawn="1"/>
        </p:nvGrpSpPr>
        <p:grpSpPr bwMode="gray">
          <a:xfrm>
            <a:off x="1008000" y="615279"/>
            <a:ext cx="1249243" cy="293796"/>
            <a:chOff x="358775" y="4774973"/>
            <a:chExt cx="735172" cy="172897"/>
          </a:xfrm>
        </p:grpSpPr>
        <p:sp>
          <p:nvSpPr>
            <p:cNvPr id="56" name="Freihandform: Form 7">
              <a:extLst>
                <a:ext uri="{FF2B5EF4-FFF2-40B4-BE49-F238E27FC236}">
                  <a16:creationId xmlns:a16="http://schemas.microsoft.com/office/drawing/2014/main" id="{A4909EEC-66E6-A89E-5968-5B444CC402EB}"/>
                </a:ext>
              </a:extLst>
            </p:cNvPr>
            <p:cNvSpPr/>
            <p:nvPr/>
          </p:nvSpPr>
          <p:spPr bwMode="gray">
            <a:xfrm>
              <a:off x="358775" y="4774973"/>
              <a:ext cx="735172" cy="172897"/>
            </a:xfrm>
            <a:custGeom>
              <a:avLst/>
              <a:gdLst>
                <a:gd name="connsiteX0" fmla="*/ 2575509 w 2918707"/>
                <a:gd name="connsiteY0" fmla="*/ 0 h 686420"/>
                <a:gd name="connsiteX1" fmla="*/ 343221 w 2918707"/>
                <a:gd name="connsiteY1" fmla="*/ 0 h 686420"/>
                <a:gd name="connsiteX2" fmla="*/ 0 w 2918707"/>
                <a:gd name="connsiteY2" fmla="*/ 343210 h 686420"/>
                <a:gd name="connsiteX3" fmla="*/ 343221 w 2918707"/>
                <a:gd name="connsiteY3" fmla="*/ 686420 h 686420"/>
                <a:gd name="connsiteX4" fmla="*/ 2575497 w 2918707"/>
                <a:gd name="connsiteY4" fmla="*/ 686420 h 686420"/>
                <a:gd name="connsiteX5" fmla="*/ 2918708 w 2918707"/>
                <a:gd name="connsiteY5" fmla="*/ 343210 h 686420"/>
                <a:gd name="connsiteX6" fmla="*/ 2575509 w 2918707"/>
                <a:gd name="connsiteY6" fmla="*/ 0 h 686420"/>
                <a:gd name="connsiteX7" fmla="*/ 2575509 w 2918707"/>
                <a:gd name="connsiteY7" fmla="*/ 662107 h 686420"/>
                <a:gd name="connsiteX8" fmla="*/ 343221 w 2918707"/>
                <a:gd name="connsiteY8" fmla="*/ 662107 h 686420"/>
                <a:gd name="connsiteX9" fmla="*/ 24313 w 2918707"/>
                <a:gd name="connsiteY9" fmla="*/ 343210 h 686420"/>
                <a:gd name="connsiteX10" fmla="*/ 343221 w 2918707"/>
                <a:gd name="connsiteY10" fmla="*/ 24325 h 686420"/>
                <a:gd name="connsiteX11" fmla="*/ 2575497 w 2918707"/>
                <a:gd name="connsiteY11" fmla="*/ 24325 h 686420"/>
                <a:gd name="connsiteX12" fmla="*/ 2894394 w 2918707"/>
                <a:gd name="connsiteY12" fmla="*/ 343221 h 686420"/>
                <a:gd name="connsiteX13" fmla="*/ 2575497 w 2918707"/>
                <a:gd name="connsiteY13" fmla="*/ 662118 h 686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18707" h="686420">
                  <a:moveTo>
                    <a:pt x="2575509" y="0"/>
                  </a:moveTo>
                  <a:lnTo>
                    <a:pt x="343221" y="0"/>
                  </a:lnTo>
                  <a:cubicBezTo>
                    <a:pt x="153970" y="0"/>
                    <a:pt x="0" y="153959"/>
                    <a:pt x="0" y="343210"/>
                  </a:cubicBezTo>
                  <a:cubicBezTo>
                    <a:pt x="0" y="532461"/>
                    <a:pt x="153970" y="686420"/>
                    <a:pt x="343221" y="686420"/>
                  </a:cubicBezTo>
                  <a:lnTo>
                    <a:pt x="2575497" y="686420"/>
                  </a:lnTo>
                  <a:cubicBezTo>
                    <a:pt x="2764749" y="686420"/>
                    <a:pt x="2918708" y="532450"/>
                    <a:pt x="2918708" y="343210"/>
                  </a:cubicBezTo>
                  <a:cubicBezTo>
                    <a:pt x="2918708" y="153970"/>
                    <a:pt x="2764749" y="0"/>
                    <a:pt x="2575509" y="0"/>
                  </a:cubicBezTo>
                  <a:close/>
                  <a:moveTo>
                    <a:pt x="2575509" y="662107"/>
                  </a:moveTo>
                  <a:lnTo>
                    <a:pt x="343221" y="662107"/>
                  </a:lnTo>
                  <a:cubicBezTo>
                    <a:pt x="167088" y="662107"/>
                    <a:pt x="24313" y="519332"/>
                    <a:pt x="24313" y="343210"/>
                  </a:cubicBezTo>
                  <a:cubicBezTo>
                    <a:pt x="24313" y="167088"/>
                    <a:pt x="167088" y="24325"/>
                    <a:pt x="343221" y="24325"/>
                  </a:cubicBezTo>
                  <a:lnTo>
                    <a:pt x="2575497" y="24325"/>
                  </a:lnTo>
                  <a:cubicBezTo>
                    <a:pt x="2751619" y="24325"/>
                    <a:pt x="2894394" y="167100"/>
                    <a:pt x="2894394" y="343221"/>
                  </a:cubicBezTo>
                  <a:cubicBezTo>
                    <a:pt x="2894394" y="519343"/>
                    <a:pt x="2751619" y="662118"/>
                    <a:pt x="2575497" y="662118"/>
                  </a:cubicBez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7" name="Freihandform: Form 8">
              <a:extLst>
                <a:ext uri="{FF2B5EF4-FFF2-40B4-BE49-F238E27FC236}">
                  <a16:creationId xmlns:a16="http://schemas.microsoft.com/office/drawing/2014/main" id="{6500E59A-BF02-D30A-0AF7-81462A4B47F2}"/>
                </a:ext>
              </a:extLst>
            </p:cNvPr>
            <p:cNvSpPr/>
            <p:nvPr/>
          </p:nvSpPr>
          <p:spPr bwMode="gray">
            <a:xfrm>
              <a:off x="699090" y="4817610"/>
              <a:ext cx="56596" cy="87635"/>
            </a:xfrm>
            <a:custGeom>
              <a:avLst/>
              <a:gdLst>
                <a:gd name="connsiteX0" fmla="*/ 173960 w 224691"/>
                <a:gd name="connsiteY0" fmla="*/ 347875 h 347920"/>
                <a:gd name="connsiteX1" fmla="*/ 224692 w 224691"/>
                <a:gd name="connsiteY1" fmla="*/ 297132 h 347920"/>
                <a:gd name="connsiteX2" fmla="*/ 224692 w 224691"/>
                <a:gd name="connsiteY2" fmla="*/ 50971 h 347920"/>
                <a:gd name="connsiteX3" fmla="*/ 173960 w 224691"/>
                <a:gd name="connsiteY3" fmla="*/ 239 h 347920"/>
                <a:gd name="connsiteX4" fmla="*/ 166701 w 224691"/>
                <a:gd name="connsiteY4" fmla="*/ 0 h 347920"/>
                <a:gd name="connsiteX5" fmla="*/ 0 w 224691"/>
                <a:gd name="connsiteY5" fmla="*/ 23 h 347920"/>
                <a:gd name="connsiteX6" fmla="*/ 0 w 224691"/>
                <a:gd name="connsiteY6" fmla="*/ 347920 h 347920"/>
                <a:gd name="connsiteX7" fmla="*/ 166701 w 224691"/>
                <a:gd name="connsiteY7" fmla="*/ 347875 h 347920"/>
                <a:gd name="connsiteX8" fmla="*/ 173960 w 224691"/>
                <a:gd name="connsiteY8" fmla="*/ 347875 h 34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691" h="347920">
                  <a:moveTo>
                    <a:pt x="173960" y="347875"/>
                  </a:moveTo>
                  <a:cubicBezTo>
                    <a:pt x="201971" y="347875"/>
                    <a:pt x="224692" y="325154"/>
                    <a:pt x="224692" y="297132"/>
                  </a:cubicBezTo>
                  <a:lnTo>
                    <a:pt x="224692" y="50971"/>
                  </a:lnTo>
                  <a:cubicBezTo>
                    <a:pt x="224692" y="22960"/>
                    <a:pt x="201971" y="239"/>
                    <a:pt x="173960" y="239"/>
                  </a:cubicBezTo>
                  <a:lnTo>
                    <a:pt x="166701" y="0"/>
                  </a:lnTo>
                  <a:lnTo>
                    <a:pt x="0" y="23"/>
                  </a:lnTo>
                  <a:lnTo>
                    <a:pt x="0" y="347920"/>
                  </a:lnTo>
                  <a:lnTo>
                    <a:pt x="166701" y="347875"/>
                  </a:lnTo>
                  <a:lnTo>
                    <a:pt x="173960" y="347875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8" name="Freihandform: Form 9">
              <a:extLst>
                <a:ext uri="{FF2B5EF4-FFF2-40B4-BE49-F238E27FC236}">
                  <a16:creationId xmlns:a16="http://schemas.microsoft.com/office/drawing/2014/main" id="{A99186D6-660A-80BE-0B79-2E58E7D9846F}"/>
                </a:ext>
              </a:extLst>
            </p:cNvPr>
            <p:cNvSpPr/>
            <p:nvPr/>
          </p:nvSpPr>
          <p:spPr bwMode="gray">
            <a:xfrm>
              <a:off x="837295" y="4837696"/>
              <a:ext cx="37533" cy="42046"/>
            </a:xfrm>
            <a:custGeom>
              <a:avLst/>
              <a:gdLst>
                <a:gd name="connsiteX0" fmla="*/ 74658 w 149009"/>
                <a:gd name="connsiteY0" fmla="*/ 0 h 166928"/>
                <a:gd name="connsiteX1" fmla="*/ 0 w 149009"/>
                <a:gd name="connsiteY1" fmla="*/ 166929 h 166928"/>
                <a:gd name="connsiteX2" fmla="*/ 149010 w 149009"/>
                <a:gd name="connsiteY2" fmla="*/ 166804 h 166928"/>
                <a:gd name="connsiteX3" fmla="*/ 74658 w 149009"/>
                <a:gd name="connsiteY3" fmla="*/ 0 h 166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009" h="166928">
                  <a:moveTo>
                    <a:pt x="74658" y="0"/>
                  </a:moveTo>
                  <a:lnTo>
                    <a:pt x="0" y="166929"/>
                  </a:lnTo>
                  <a:lnTo>
                    <a:pt x="149010" y="166804"/>
                  </a:lnTo>
                  <a:lnTo>
                    <a:pt x="74658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9" name="Freihandform: Form 10">
              <a:extLst>
                <a:ext uri="{FF2B5EF4-FFF2-40B4-BE49-F238E27FC236}">
                  <a16:creationId xmlns:a16="http://schemas.microsoft.com/office/drawing/2014/main" id="{4947C2FD-027F-46FE-390D-4C9112F891A8}"/>
                </a:ext>
              </a:extLst>
            </p:cNvPr>
            <p:cNvSpPr/>
            <p:nvPr/>
          </p:nvSpPr>
          <p:spPr bwMode="gray">
            <a:xfrm>
              <a:off x="364902" y="4781100"/>
              <a:ext cx="722923" cy="160646"/>
            </a:xfrm>
            <a:custGeom>
              <a:avLst/>
              <a:gdLst>
                <a:gd name="connsiteX0" fmla="*/ 2551184 w 2870080"/>
                <a:gd name="connsiteY0" fmla="*/ 0 h 637781"/>
                <a:gd name="connsiteX1" fmla="*/ 318897 w 2870080"/>
                <a:gd name="connsiteY1" fmla="*/ 0 h 637781"/>
                <a:gd name="connsiteX2" fmla="*/ 0 w 2870080"/>
                <a:gd name="connsiteY2" fmla="*/ 318885 h 637781"/>
                <a:gd name="connsiteX3" fmla="*/ 318908 w 2870080"/>
                <a:gd name="connsiteY3" fmla="*/ 637782 h 637781"/>
                <a:gd name="connsiteX4" fmla="*/ 2551184 w 2870080"/>
                <a:gd name="connsiteY4" fmla="*/ 637782 h 637781"/>
                <a:gd name="connsiteX5" fmla="*/ 2870081 w 2870080"/>
                <a:gd name="connsiteY5" fmla="*/ 318885 h 637781"/>
                <a:gd name="connsiteX6" fmla="*/ 2551184 w 2870080"/>
                <a:gd name="connsiteY6" fmla="*/ 0 h 637781"/>
                <a:gd name="connsiteX7" fmla="*/ 2696496 w 2870080"/>
                <a:gd name="connsiteY7" fmla="*/ 195771 h 637781"/>
                <a:gd name="connsiteX8" fmla="*/ 2573336 w 2870080"/>
                <a:gd name="connsiteY8" fmla="*/ 195771 h 637781"/>
                <a:gd name="connsiteX9" fmla="*/ 2573336 w 2870080"/>
                <a:gd name="connsiteY9" fmla="*/ 195930 h 637781"/>
                <a:gd name="connsiteX10" fmla="*/ 2573279 w 2870080"/>
                <a:gd name="connsiteY10" fmla="*/ 195782 h 637781"/>
                <a:gd name="connsiteX11" fmla="*/ 2573336 w 2870080"/>
                <a:gd name="connsiteY11" fmla="*/ 195782 h 637781"/>
                <a:gd name="connsiteX12" fmla="*/ 2522604 w 2870080"/>
                <a:gd name="connsiteY12" fmla="*/ 145198 h 637781"/>
                <a:gd name="connsiteX13" fmla="*/ 2515300 w 2870080"/>
                <a:gd name="connsiteY13" fmla="*/ 144959 h 637781"/>
                <a:gd name="connsiteX14" fmla="*/ 2406578 w 2870080"/>
                <a:gd name="connsiteY14" fmla="*/ 144959 h 637781"/>
                <a:gd name="connsiteX15" fmla="*/ 2399489 w 2870080"/>
                <a:gd name="connsiteY15" fmla="*/ 145198 h 637781"/>
                <a:gd name="connsiteX16" fmla="*/ 2348746 w 2870080"/>
                <a:gd name="connsiteY16" fmla="*/ 195441 h 637781"/>
                <a:gd name="connsiteX17" fmla="*/ 2348587 w 2870080"/>
                <a:gd name="connsiteY17" fmla="*/ 202927 h 637781"/>
                <a:gd name="connsiteX18" fmla="*/ 2348587 w 2870080"/>
                <a:gd name="connsiteY18" fmla="*/ 434843 h 637781"/>
                <a:gd name="connsiteX19" fmla="*/ 2348701 w 2870080"/>
                <a:gd name="connsiteY19" fmla="*/ 442079 h 637781"/>
                <a:gd name="connsiteX20" fmla="*/ 2399444 w 2870080"/>
                <a:gd name="connsiteY20" fmla="*/ 492823 h 637781"/>
                <a:gd name="connsiteX21" fmla="*/ 2522593 w 2870080"/>
                <a:gd name="connsiteY21" fmla="*/ 492823 h 637781"/>
                <a:gd name="connsiteX22" fmla="*/ 2573324 w 2870080"/>
                <a:gd name="connsiteY22" fmla="*/ 442205 h 637781"/>
                <a:gd name="connsiteX23" fmla="*/ 2573268 w 2870080"/>
                <a:gd name="connsiteY23" fmla="*/ 442205 h 637781"/>
                <a:gd name="connsiteX24" fmla="*/ 2573324 w 2870080"/>
                <a:gd name="connsiteY24" fmla="*/ 442079 h 637781"/>
                <a:gd name="connsiteX25" fmla="*/ 2573324 w 2870080"/>
                <a:gd name="connsiteY25" fmla="*/ 442205 h 637781"/>
                <a:gd name="connsiteX26" fmla="*/ 2696485 w 2870080"/>
                <a:gd name="connsiteY26" fmla="*/ 442205 h 637781"/>
                <a:gd name="connsiteX27" fmla="*/ 2696485 w 2870080"/>
                <a:gd name="connsiteY27" fmla="*/ 456586 h 637781"/>
                <a:gd name="connsiteX28" fmla="*/ 2696371 w 2870080"/>
                <a:gd name="connsiteY28" fmla="*/ 471160 h 637781"/>
                <a:gd name="connsiteX29" fmla="*/ 2602155 w 2870080"/>
                <a:gd name="connsiteY29" fmla="*/ 565365 h 637781"/>
                <a:gd name="connsiteX30" fmla="*/ 2587762 w 2870080"/>
                <a:gd name="connsiteY30" fmla="*/ 565297 h 637781"/>
                <a:gd name="connsiteX31" fmla="*/ 2334092 w 2870080"/>
                <a:gd name="connsiteY31" fmla="*/ 565297 h 637781"/>
                <a:gd name="connsiteX32" fmla="*/ 2319404 w 2870080"/>
                <a:gd name="connsiteY32" fmla="*/ 565365 h 637781"/>
                <a:gd name="connsiteX33" fmla="*/ 2225177 w 2870080"/>
                <a:gd name="connsiteY33" fmla="*/ 471160 h 637781"/>
                <a:gd name="connsiteX34" fmla="*/ 2225370 w 2870080"/>
                <a:gd name="connsiteY34" fmla="*/ 456586 h 637781"/>
                <a:gd name="connsiteX35" fmla="*/ 2225370 w 2870080"/>
                <a:gd name="connsiteY35" fmla="*/ 167043 h 637781"/>
                <a:gd name="connsiteX36" fmla="*/ 2319597 w 2870080"/>
                <a:gd name="connsiteY36" fmla="*/ 72815 h 637781"/>
                <a:gd name="connsiteX37" fmla="*/ 2334081 w 2870080"/>
                <a:gd name="connsiteY37" fmla="*/ 72485 h 637781"/>
                <a:gd name="connsiteX38" fmla="*/ 2587751 w 2870080"/>
                <a:gd name="connsiteY38" fmla="*/ 72485 h 637781"/>
                <a:gd name="connsiteX39" fmla="*/ 2602143 w 2870080"/>
                <a:gd name="connsiteY39" fmla="*/ 72372 h 637781"/>
                <a:gd name="connsiteX40" fmla="*/ 2696360 w 2870080"/>
                <a:gd name="connsiteY40" fmla="*/ 166599 h 637781"/>
                <a:gd name="connsiteX41" fmla="*/ 2696473 w 2870080"/>
                <a:gd name="connsiteY41" fmla="*/ 181196 h 637781"/>
                <a:gd name="connsiteX42" fmla="*/ 2696473 w 2870080"/>
                <a:gd name="connsiteY42" fmla="*/ 195771 h 637781"/>
                <a:gd name="connsiteX43" fmla="*/ 195748 w 2870080"/>
                <a:gd name="connsiteY43" fmla="*/ 72474 h 637781"/>
                <a:gd name="connsiteX44" fmla="*/ 319022 w 2870080"/>
                <a:gd name="connsiteY44" fmla="*/ 72474 h 637781"/>
                <a:gd name="connsiteX45" fmla="*/ 319022 w 2870080"/>
                <a:gd name="connsiteY45" fmla="*/ 282660 h 637781"/>
                <a:gd name="connsiteX46" fmla="*/ 543884 w 2870080"/>
                <a:gd name="connsiteY46" fmla="*/ 282739 h 637781"/>
                <a:gd name="connsiteX47" fmla="*/ 543884 w 2870080"/>
                <a:gd name="connsiteY47" fmla="*/ 72474 h 637781"/>
                <a:gd name="connsiteX48" fmla="*/ 808272 w 2870080"/>
                <a:gd name="connsiteY48" fmla="*/ 72474 h 637781"/>
                <a:gd name="connsiteX49" fmla="*/ 935255 w 2870080"/>
                <a:gd name="connsiteY49" fmla="*/ 260792 h 637781"/>
                <a:gd name="connsiteX50" fmla="*/ 1061976 w 2870080"/>
                <a:gd name="connsiteY50" fmla="*/ 72474 h 637781"/>
                <a:gd name="connsiteX51" fmla="*/ 1566153 w 2870080"/>
                <a:gd name="connsiteY51" fmla="*/ 72474 h 637781"/>
                <a:gd name="connsiteX52" fmla="*/ 1580591 w 2870080"/>
                <a:gd name="connsiteY52" fmla="*/ 72610 h 637781"/>
                <a:gd name="connsiteX53" fmla="*/ 1674807 w 2870080"/>
                <a:gd name="connsiteY53" fmla="*/ 166827 h 637781"/>
                <a:gd name="connsiteX54" fmla="*/ 1674875 w 2870080"/>
                <a:gd name="connsiteY54" fmla="*/ 181173 h 637781"/>
                <a:gd name="connsiteX55" fmla="*/ 1674875 w 2870080"/>
                <a:gd name="connsiteY55" fmla="*/ 456574 h 637781"/>
                <a:gd name="connsiteX56" fmla="*/ 1674614 w 2870080"/>
                <a:gd name="connsiteY56" fmla="*/ 470955 h 637781"/>
                <a:gd name="connsiteX57" fmla="*/ 1580398 w 2870080"/>
                <a:gd name="connsiteY57" fmla="*/ 565160 h 637781"/>
                <a:gd name="connsiteX58" fmla="*/ 1566165 w 2870080"/>
                <a:gd name="connsiteY58" fmla="*/ 565285 h 637781"/>
                <a:gd name="connsiteX59" fmla="*/ 1203420 w 2870080"/>
                <a:gd name="connsiteY59" fmla="*/ 565285 h 637781"/>
                <a:gd name="connsiteX60" fmla="*/ 1203397 w 2870080"/>
                <a:gd name="connsiteY60" fmla="*/ 80643 h 637781"/>
                <a:gd name="connsiteX61" fmla="*/ 1000447 w 2870080"/>
                <a:gd name="connsiteY61" fmla="*/ 370470 h 637781"/>
                <a:gd name="connsiteX62" fmla="*/ 1000481 w 2870080"/>
                <a:gd name="connsiteY62" fmla="*/ 565285 h 637781"/>
                <a:gd name="connsiteX63" fmla="*/ 870017 w 2870080"/>
                <a:gd name="connsiteY63" fmla="*/ 565285 h 637781"/>
                <a:gd name="connsiteX64" fmla="*/ 870017 w 2870080"/>
                <a:gd name="connsiteY64" fmla="*/ 371210 h 637781"/>
                <a:gd name="connsiteX65" fmla="*/ 666965 w 2870080"/>
                <a:gd name="connsiteY65" fmla="*/ 81382 h 637781"/>
                <a:gd name="connsiteX66" fmla="*/ 667079 w 2870080"/>
                <a:gd name="connsiteY66" fmla="*/ 565285 h 637781"/>
                <a:gd name="connsiteX67" fmla="*/ 543873 w 2870080"/>
                <a:gd name="connsiteY67" fmla="*/ 565285 h 637781"/>
                <a:gd name="connsiteX68" fmla="*/ 543873 w 2870080"/>
                <a:gd name="connsiteY68" fmla="*/ 355099 h 637781"/>
                <a:gd name="connsiteX69" fmla="*/ 319010 w 2870080"/>
                <a:gd name="connsiteY69" fmla="*/ 355099 h 637781"/>
                <a:gd name="connsiteX70" fmla="*/ 319010 w 2870080"/>
                <a:gd name="connsiteY70" fmla="*/ 565274 h 637781"/>
                <a:gd name="connsiteX71" fmla="*/ 195691 w 2870080"/>
                <a:gd name="connsiteY71" fmla="*/ 565274 h 637781"/>
                <a:gd name="connsiteX72" fmla="*/ 195736 w 2870080"/>
                <a:gd name="connsiteY72" fmla="*/ 72451 h 637781"/>
                <a:gd name="connsiteX73" fmla="*/ 2008449 w 2870080"/>
                <a:gd name="connsiteY73" fmla="*/ 72463 h 637781"/>
                <a:gd name="connsiteX74" fmla="*/ 2240639 w 2870080"/>
                <a:gd name="connsiteY74" fmla="*/ 565217 h 637781"/>
                <a:gd name="connsiteX75" fmla="*/ 2101812 w 2870080"/>
                <a:gd name="connsiteY75" fmla="*/ 565217 h 637781"/>
                <a:gd name="connsiteX76" fmla="*/ 2056746 w 2870080"/>
                <a:gd name="connsiteY76" fmla="*/ 464049 h 637781"/>
                <a:gd name="connsiteX77" fmla="*/ 1843579 w 2870080"/>
                <a:gd name="connsiteY77" fmla="*/ 464049 h 637781"/>
                <a:gd name="connsiteX78" fmla="*/ 1798206 w 2870080"/>
                <a:gd name="connsiteY78" fmla="*/ 565342 h 637781"/>
                <a:gd name="connsiteX79" fmla="*/ 1659937 w 2870080"/>
                <a:gd name="connsiteY79" fmla="*/ 565365 h 637781"/>
                <a:gd name="connsiteX80" fmla="*/ 1892126 w 2870080"/>
                <a:gd name="connsiteY80" fmla="*/ 72474 h 637781"/>
                <a:gd name="connsiteX81" fmla="*/ 2008460 w 2870080"/>
                <a:gd name="connsiteY81" fmla="*/ 72474 h 637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2870080" h="637781">
                  <a:moveTo>
                    <a:pt x="2551184" y="0"/>
                  </a:moveTo>
                  <a:lnTo>
                    <a:pt x="318897" y="0"/>
                  </a:lnTo>
                  <a:cubicBezTo>
                    <a:pt x="142763" y="0"/>
                    <a:pt x="0" y="142763"/>
                    <a:pt x="0" y="318885"/>
                  </a:cubicBezTo>
                  <a:cubicBezTo>
                    <a:pt x="0" y="495007"/>
                    <a:pt x="142775" y="637782"/>
                    <a:pt x="318908" y="637782"/>
                  </a:cubicBezTo>
                  <a:lnTo>
                    <a:pt x="2551184" y="637782"/>
                  </a:lnTo>
                  <a:cubicBezTo>
                    <a:pt x="2727306" y="637782"/>
                    <a:pt x="2870081" y="495007"/>
                    <a:pt x="2870081" y="318885"/>
                  </a:cubicBezTo>
                  <a:cubicBezTo>
                    <a:pt x="2870081" y="142763"/>
                    <a:pt x="2727306" y="0"/>
                    <a:pt x="2551184" y="0"/>
                  </a:cubicBezTo>
                  <a:close/>
                  <a:moveTo>
                    <a:pt x="2696496" y="195771"/>
                  </a:moveTo>
                  <a:lnTo>
                    <a:pt x="2573336" y="195771"/>
                  </a:lnTo>
                  <a:cubicBezTo>
                    <a:pt x="2573336" y="195827"/>
                    <a:pt x="2573336" y="195873"/>
                    <a:pt x="2573336" y="195930"/>
                  </a:cubicBezTo>
                  <a:lnTo>
                    <a:pt x="2573279" y="195782"/>
                  </a:lnTo>
                  <a:lnTo>
                    <a:pt x="2573336" y="195782"/>
                  </a:lnTo>
                  <a:cubicBezTo>
                    <a:pt x="2573256" y="167839"/>
                    <a:pt x="2550570" y="145198"/>
                    <a:pt x="2522604" y="145198"/>
                  </a:cubicBezTo>
                  <a:lnTo>
                    <a:pt x="2515300" y="144959"/>
                  </a:lnTo>
                  <a:lnTo>
                    <a:pt x="2406578" y="144959"/>
                  </a:lnTo>
                  <a:lnTo>
                    <a:pt x="2399489" y="145198"/>
                  </a:lnTo>
                  <a:cubicBezTo>
                    <a:pt x="2371478" y="145198"/>
                    <a:pt x="2348746" y="167430"/>
                    <a:pt x="2348746" y="195441"/>
                  </a:cubicBezTo>
                  <a:lnTo>
                    <a:pt x="2348587" y="202927"/>
                  </a:lnTo>
                  <a:lnTo>
                    <a:pt x="2348587" y="434843"/>
                  </a:lnTo>
                  <a:lnTo>
                    <a:pt x="2348701" y="442079"/>
                  </a:lnTo>
                  <a:cubicBezTo>
                    <a:pt x="2348701" y="470113"/>
                    <a:pt x="2371410" y="492823"/>
                    <a:pt x="2399444" y="492823"/>
                  </a:cubicBezTo>
                  <a:lnTo>
                    <a:pt x="2522593" y="492823"/>
                  </a:lnTo>
                  <a:cubicBezTo>
                    <a:pt x="2550570" y="492823"/>
                    <a:pt x="2573256" y="470170"/>
                    <a:pt x="2573324" y="442205"/>
                  </a:cubicBezTo>
                  <a:lnTo>
                    <a:pt x="2573268" y="442205"/>
                  </a:lnTo>
                  <a:lnTo>
                    <a:pt x="2573324" y="442079"/>
                  </a:lnTo>
                  <a:cubicBezTo>
                    <a:pt x="2573324" y="442079"/>
                    <a:pt x="2573324" y="442159"/>
                    <a:pt x="2573324" y="442205"/>
                  </a:cubicBezTo>
                  <a:lnTo>
                    <a:pt x="2696485" y="442205"/>
                  </a:lnTo>
                  <a:lnTo>
                    <a:pt x="2696485" y="456586"/>
                  </a:lnTo>
                  <a:lnTo>
                    <a:pt x="2696371" y="471160"/>
                  </a:lnTo>
                  <a:cubicBezTo>
                    <a:pt x="2696371" y="523189"/>
                    <a:pt x="2654183" y="565365"/>
                    <a:pt x="2602155" y="565365"/>
                  </a:cubicBezTo>
                  <a:lnTo>
                    <a:pt x="2587762" y="565297"/>
                  </a:lnTo>
                  <a:lnTo>
                    <a:pt x="2334092" y="565297"/>
                  </a:lnTo>
                  <a:lnTo>
                    <a:pt x="2319404" y="565365"/>
                  </a:lnTo>
                  <a:cubicBezTo>
                    <a:pt x="2267364" y="565365"/>
                    <a:pt x="2225177" y="523189"/>
                    <a:pt x="2225177" y="471160"/>
                  </a:cubicBezTo>
                  <a:lnTo>
                    <a:pt x="2225370" y="456586"/>
                  </a:lnTo>
                  <a:lnTo>
                    <a:pt x="2225370" y="167043"/>
                  </a:lnTo>
                  <a:cubicBezTo>
                    <a:pt x="2225370" y="115003"/>
                    <a:pt x="2267569" y="72815"/>
                    <a:pt x="2319597" y="72815"/>
                  </a:cubicBezTo>
                  <a:lnTo>
                    <a:pt x="2334081" y="72485"/>
                  </a:lnTo>
                  <a:lnTo>
                    <a:pt x="2587751" y="72485"/>
                  </a:lnTo>
                  <a:lnTo>
                    <a:pt x="2602143" y="72372"/>
                  </a:lnTo>
                  <a:cubicBezTo>
                    <a:pt x="2654172" y="72372"/>
                    <a:pt x="2696360" y="114570"/>
                    <a:pt x="2696360" y="166599"/>
                  </a:cubicBezTo>
                  <a:lnTo>
                    <a:pt x="2696473" y="181196"/>
                  </a:lnTo>
                  <a:lnTo>
                    <a:pt x="2696473" y="195771"/>
                  </a:lnTo>
                  <a:close/>
                  <a:moveTo>
                    <a:pt x="195748" y="72474"/>
                  </a:moveTo>
                  <a:lnTo>
                    <a:pt x="319022" y="72474"/>
                  </a:lnTo>
                  <a:lnTo>
                    <a:pt x="319022" y="282660"/>
                  </a:lnTo>
                  <a:lnTo>
                    <a:pt x="543884" y="282739"/>
                  </a:lnTo>
                  <a:lnTo>
                    <a:pt x="543884" y="72474"/>
                  </a:lnTo>
                  <a:lnTo>
                    <a:pt x="808272" y="72474"/>
                  </a:lnTo>
                  <a:lnTo>
                    <a:pt x="935255" y="260792"/>
                  </a:lnTo>
                  <a:lnTo>
                    <a:pt x="1061976" y="72474"/>
                  </a:lnTo>
                  <a:lnTo>
                    <a:pt x="1566153" y="72474"/>
                  </a:lnTo>
                  <a:lnTo>
                    <a:pt x="1580591" y="72610"/>
                  </a:lnTo>
                  <a:cubicBezTo>
                    <a:pt x="1632620" y="72610"/>
                    <a:pt x="1674807" y="114798"/>
                    <a:pt x="1674807" y="166827"/>
                  </a:cubicBezTo>
                  <a:lnTo>
                    <a:pt x="1674875" y="181173"/>
                  </a:lnTo>
                  <a:lnTo>
                    <a:pt x="1674875" y="456574"/>
                  </a:lnTo>
                  <a:lnTo>
                    <a:pt x="1674614" y="470955"/>
                  </a:lnTo>
                  <a:cubicBezTo>
                    <a:pt x="1674614" y="522995"/>
                    <a:pt x="1632427" y="565160"/>
                    <a:pt x="1580398" y="565160"/>
                  </a:cubicBezTo>
                  <a:lnTo>
                    <a:pt x="1566165" y="565285"/>
                  </a:lnTo>
                  <a:lnTo>
                    <a:pt x="1203420" y="565285"/>
                  </a:lnTo>
                  <a:lnTo>
                    <a:pt x="1203397" y="80643"/>
                  </a:lnTo>
                  <a:lnTo>
                    <a:pt x="1000447" y="370470"/>
                  </a:lnTo>
                  <a:lnTo>
                    <a:pt x="1000481" y="565285"/>
                  </a:lnTo>
                  <a:lnTo>
                    <a:pt x="870017" y="565285"/>
                  </a:lnTo>
                  <a:lnTo>
                    <a:pt x="870017" y="371210"/>
                  </a:lnTo>
                  <a:lnTo>
                    <a:pt x="666965" y="81382"/>
                  </a:lnTo>
                  <a:lnTo>
                    <a:pt x="667079" y="565285"/>
                  </a:lnTo>
                  <a:lnTo>
                    <a:pt x="543873" y="565285"/>
                  </a:lnTo>
                  <a:lnTo>
                    <a:pt x="543873" y="355099"/>
                  </a:lnTo>
                  <a:lnTo>
                    <a:pt x="319010" y="355099"/>
                  </a:lnTo>
                  <a:lnTo>
                    <a:pt x="319010" y="565274"/>
                  </a:lnTo>
                  <a:lnTo>
                    <a:pt x="195691" y="565274"/>
                  </a:lnTo>
                  <a:lnTo>
                    <a:pt x="195736" y="72451"/>
                  </a:lnTo>
                  <a:close/>
                  <a:moveTo>
                    <a:pt x="2008449" y="72463"/>
                  </a:moveTo>
                  <a:lnTo>
                    <a:pt x="2240639" y="565217"/>
                  </a:lnTo>
                  <a:lnTo>
                    <a:pt x="2101812" y="565217"/>
                  </a:lnTo>
                  <a:lnTo>
                    <a:pt x="2056746" y="464049"/>
                  </a:lnTo>
                  <a:lnTo>
                    <a:pt x="1843579" y="464049"/>
                  </a:lnTo>
                  <a:lnTo>
                    <a:pt x="1798206" y="565342"/>
                  </a:lnTo>
                  <a:lnTo>
                    <a:pt x="1659937" y="565365"/>
                  </a:lnTo>
                  <a:lnTo>
                    <a:pt x="1892126" y="72474"/>
                  </a:lnTo>
                  <a:lnTo>
                    <a:pt x="2008460" y="72474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0" name="Freihandform: Form 11">
              <a:extLst>
                <a:ext uri="{FF2B5EF4-FFF2-40B4-BE49-F238E27FC236}">
                  <a16:creationId xmlns:a16="http://schemas.microsoft.com/office/drawing/2014/main" id="{BCA4AA92-B4BA-34E7-D682-0A3ACCFE9DFE}"/>
                </a:ext>
              </a:extLst>
            </p:cNvPr>
            <p:cNvSpPr/>
            <p:nvPr/>
          </p:nvSpPr>
          <p:spPr bwMode="gray">
            <a:xfrm>
              <a:off x="414202" y="4799355"/>
              <a:ext cx="372578" cy="124136"/>
            </a:xfrm>
            <a:custGeom>
              <a:avLst/>
              <a:gdLst>
                <a:gd name="connsiteX0" fmla="*/ 123308 w 1479173"/>
                <a:gd name="connsiteY0" fmla="*/ 282648 h 492833"/>
                <a:gd name="connsiteX1" fmla="*/ 348171 w 1479173"/>
                <a:gd name="connsiteY1" fmla="*/ 282648 h 492833"/>
                <a:gd name="connsiteX2" fmla="*/ 348171 w 1479173"/>
                <a:gd name="connsiteY2" fmla="*/ 492834 h 492833"/>
                <a:gd name="connsiteX3" fmla="*/ 471376 w 1479173"/>
                <a:gd name="connsiteY3" fmla="*/ 492834 h 492833"/>
                <a:gd name="connsiteX4" fmla="*/ 471262 w 1479173"/>
                <a:gd name="connsiteY4" fmla="*/ 8931 h 492833"/>
                <a:gd name="connsiteX5" fmla="*/ 674315 w 1479173"/>
                <a:gd name="connsiteY5" fmla="*/ 298759 h 492833"/>
                <a:gd name="connsiteX6" fmla="*/ 674315 w 1479173"/>
                <a:gd name="connsiteY6" fmla="*/ 492834 h 492833"/>
                <a:gd name="connsiteX7" fmla="*/ 804779 w 1479173"/>
                <a:gd name="connsiteY7" fmla="*/ 492834 h 492833"/>
                <a:gd name="connsiteX8" fmla="*/ 804745 w 1479173"/>
                <a:gd name="connsiteY8" fmla="*/ 298019 h 492833"/>
                <a:gd name="connsiteX9" fmla="*/ 1007695 w 1479173"/>
                <a:gd name="connsiteY9" fmla="*/ 8192 h 492833"/>
                <a:gd name="connsiteX10" fmla="*/ 1007717 w 1479173"/>
                <a:gd name="connsiteY10" fmla="*/ 492834 h 492833"/>
                <a:gd name="connsiteX11" fmla="*/ 1370462 w 1479173"/>
                <a:gd name="connsiteY11" fmla="*/ 492834 h 492833"/>
                <a:gd name="connsiteX12" fmla="*/ 1384695 w 1479173"/>
                <a:gd name="connsiteY12" fmla="*/ 492709 h 492833"/>
                <a:gd name="connsiteX13" fmla="*/ 1478912 w 1479173"/>
                <a:gd name="connsiteY13" fmla="*/ 398504 h 492833"/>
                <a:gd name="connsiteX14" fmla="*/ 1479173 w 1479173"/>
                <a:gd name="connsiteY14" fmla="*/ 384123 h 492833"/>
                <a:gd name="connsiteX15" fmla="*/ 1479173 w 1479173"/>
                <a:gd name="connsiteY15" fmla="*/ 108711 h 492833"/>
                <a:gd name="connsiteX16" fmla="*/ 1479105 w 1479173"/>
                <a:gd name="connsiteY16" fmla="*/ 94364 h 492833"/>
                <a:gd name="connsiteX17" fmla="*/ 1384889 w 1479173"/>
                <a:gd name="connsiteY17" fmla="*/ 148 h 492833"/>
                <a:gd name="connsiteX18" fmla="*/ 1370451 w 1479173"/>
                <a:gd name="connsiteY18" fmla="*/ 11 h 492833"/>
                <a:gd name="connsiteX19" fmla="*/ 866274 w 1479173"/>
                <a:gd name="connsiteY19" fmla="*/ 11 h 492833"/>
                <a:gd name="connsiteX20" fmla="*/ 739552 w 1479173"/>
                <a:gd name="connsiteY20" fmla="*/ 188330 h 492833"/>
                <a:gd name="connsiteX21" fmla="*/ 612570 w 1479173"/>
                <a:gd name="connsiteY21" fmla="*/ 11 h 492833"/>
                <a:gd name="connsiteX22" fmla="*/ 348182 w 1479173"/>
                <a:gd name="connsiteY22" fmla="*/ 11 h 492833"/>
                <a:gd name="connsiteX23" fmla="*/ 348182 w 1479173"/>
                <a:gd name="connsiteY23" fmla="*/ 210277 h 492833"/>
                <a:gd name="connsiteX24" fmla="*/ 123319 w 1479173"/>
                <a:gd name="connsiteY24" fmla="*/ 210197 h 492833"/>
                <a:gd name="connsiteX25" fmla="*/ 123319 w 1479173"/>
                <a:gd name="connsiteY25" fmla="*/ 0 h 492833"/>
                <a:gd name="connsiteX26" fmla="*/ 46 w 1479173"/>
                <a:gd name="connsiteY26" fmla="*/ 0 h 492833"/>
                <a:gd name="connsiteX27" fmla="*/ 0 w 1479173"/>
                <a:gd name="connsiteY27" fmla="*/ 492823 h 492833"/>
                <a:gd name="connsiteX28" fmla="*/ 123319 w 1479173"/>
                <a:gd name="connsiteY28" fmla="*/ 492823 h 492833"/>
                <a:gd name="connsiteX29" fmla="*/ 123319 w 1479173"/>
                <a:gd name="connsiteY29" fmla="*/ 282648 h 492833"/>
                <a:gd name="connsiteX30" fmla="*/ 1131060 w 1479173"/>
                <a:gd name="connsiteY30" fmla="*/ 72497 h 492833"/>
                <a:gd name="connsiteX31" fmla="*/ 1297761 w 1479173"/>
                <a:gd name="connsiteY31" fmla="*/ 72474 h 492833"/>
                <a:gd name="connsiteX32" fmla="*/ 1305020 w 1479173"/>
                <a:gd name="connsiteY32" fmla="*/ 72713 h 492833"/>
                <a:gd name="connsiteX33" fmla="*/ 1355751 w 1479173"/>
                <a:gd name="connsiteY33" fmla="*/ 123445 h 492833"/>
                <a:gd name="connsiteX34" fmla="*/ 1355751 w 1479173"/>
                <a:gd name="connsiteY34" fmla="*/ 369594 h 492833"/>
                <a:gd name="connsiteX35" fmla="*/ 1305020 w 1479173"/>
                <a:gd name="connsiteY35" fmla="*/ 420337 h 492833"/>
                <a:gd name="connsiteX36" fmla="*/ 1297761 w 1479173"/>
                <a:gd name="connsiteY36" fmla="*/ 420337 h 492833"/>
                <a:gd name="connsiteX37" fmla="*/ 1131060 w 1479173"/>
                <a:gd name="connsiteY37" fmla="*/ 420383 h 492833"/>
                <a:gd name="connsiteX38" fmla="*/ 1131060 w 1479173"/>
                <a:gd name="connsiteY38" fmla="*/ 72497 h 49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479173" h="492833">
                  <a:moveTo>
                    <a:pt x="123308" y="282648"/>
                  </a:moveTo>
                  <a:lnTo>
                    <a:pt x="348171" y="282648"/>
                  </a:lnTo>
                  <a:lnTo>
                    <a:pt x="348171" y="492834"/>
                  </a:lnTo>
                  <a:lnTo>
                    <a:pt x="471376" y="492834"/>
                  </a:lnTo>
                  <a:lnTo>
                    <a:pt x="471262" y="8931"/>
                  </a:lnTo>
                  <a:lnTo>
                    <a:pt x="674315" y="298759"/>
                  </a:lnTo>
                  <a:lnTo>
                    <a:pt x="674315" y="492834"/>
                  </a:lnTo>
                  <a:lnTo>
                    <a:pt x="804779" y="492834"/>
                  </a:lnTo>
                  <a:lnTo>
                    <a:pt x="804745" y="298019"/>
                  </a:lnTo>
                  <a:lnTo>
                    <a:pt x="1007695" y="8192"/>
                  </a:lnTo>
                  <a:lnTo>
                    <a:pt x="1007717" y="492834"/>
                  </a:lnTo>
                  <a:lnTo>
                    <a:pt x="1370462" y="492834"/>
                  </a:lnTo>
                  <a:lnTo>
                    <a:pt x="1384695" y="492709"/>
                  </a:lnTo>
                  <a:cubicBezTo>
                    <a:pt x="1436724" y="492709"/>
                    <a:pt x="1478912" y="450533"/>
                    <a:pt x="1478912" y="398504"/>
                  </a:cubicBezTo>
                  <a:lnTo>
                    <a:pt x="1479173" y="384123"/>
                  </a:lnTo>
                  <a:lnTo>
                    <a:pt x="1479173" y="108711"/>
                  </a:lnTo>
                  <a:lnTo>
                    <a:pt x="1479105" y="94364"/>
                  </a:lnTo>
                  <a:cubicBezTo>
                    <a:pt x="1479105" y="42335"/>
                    <a:pt x="1436918" y="148"/>
                    <a:pt x="1384889" y="148"/>
                  </a:cubicBezTo>
                  <a:lnTo>
                    <a:pt x="1370451" y="11"/>
                  </a:lnTo>
                  <a:lnTo>
                    <a:pt x="866274" y="11"/>
                  </a:lnTo>
                  <a:lnTo>
                    <a:pt x="739552" y="188330"/>
                  </a:lnTo>
                  <a:lnTo>
                    <a:pt x="612570" y="11"/>
                  </a:lnTo>
                  <a:lnTo>
                    <a:pt x="348182" y="11"/>
                  </a:lnTo>
                  <a:lnTo>
                    <a:pt x="348182" y="210277"/>
                  </a:lnTo>
                  <a:lnTo>
                    <a:pt x="123319" y="210197"/>
                  </a:lnTo>
                  <a:lnTo>
                    <a:pt x="123319" y="0"/>
                  </a:lnTo>
                  <a:lnTo>
                    <a:pt x="46" y="0"/>
                  </a:lnTo>
                  <a:lnTo>
                    <a:pt x="0" y="492823"/>
                  </a:lnTo>
                  <a:lnTo>
                    <a:pt x="123319" y="492823"/>
                  </a:lnTo>
                  <a:lnTo>
                    <a:pt x="123319" y="282648"/>
                  </a:lnTo>
                  <a:close/>
                  <a:moveTo>
                    <a:pt x="1131060" y="72497"/>
                  </a:moveTo>
                  <a:lnTo>
                    <a:pt x="1297761" y="72474"/>
                  </a:lnTo>
                  <a:lnTo>
                    <a:pt x="1305020" y="72713"/>
                  </a:lnTo>
                  <a:cubicBezTo>
                    <a:pt x="1333031" y="72713"/>
                    <a:pt x="1355751" y="95433"/>
                    <a:pt x="1355751" y="123445"/>
                  </a:cubicBezTo>
                  <a:lnTo>
                    <a:pt x="1355751" y="369594"/>
                  </a:lnTo>
                  <a:cubicBezTo>
                    <a:pt x="1355751" y="397628"/>
                    <a:pt x="1333031" y="420337"/>
                    <a:pt x="1305020" y="420337"/>
                  </a:cubicBezTo>
                  <a:lnTo>
                    <a:pt x="1297761" y="420337"/>
                  </a:lnTo>
                  <a:lnTo>
                    <a:pt x="1131060" y="420383"/>
                  </a:lnTo>
                  <a:lnTo>
                    <a:pt x="1131060" y="72497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1" name="Freihandform: Form 12">
              <a:extLst>
                <a:ext uri="{FF2B5EF4-FFF2-40B4-BE49-F238E27FC236}">
                  <a16:creationId xmlns:a16="http://schemas.microsoft.com/office/drawing/2014/main" id="{4B550E7F-21C8-2F5A-C3F4-981C527E5743}"/>
                </a:ext>
              </a:extLst>
            </p:cNvPr>
            <p:cNvSpPr/>
            <p:nvPr/>
          </p:nvSpPr>
          <p:spPr bwMode="gray">
            <a:xfrm>
              <a:off x="925388" y="4799326"/>
              <a:ext cx="118717" cy="124176"/>
            </a:xfrm>
            <a:custGeom>
              <a:avLst/>
              <a:gdLst>
                <a:gd name="connsiteX0" fmla="*/ 376978 w 471319"/>
                <a:gd name="connsiteY0" fmla="*/ 0 h 492993"/>
                <a:gd name="connsiteX1" fmla="*/ 362586 w 471319"/>
                <a:gd name="connsiteY1" fmla="*/ 114 h 492993"/>
                <a:gd name="connsiteX2" fmla="*/ 108915 w 471319"/>
                <a:gd name="connsiteY2" fmla="*/ 114 h 492993"/>
                <a:gd name="connsiteX3" fmla="*/ 94432 w 471319"/>
                <a:gd name="connsiteY3" fmla="*/ 444 h 492993"/>
                <a:gd name="connsiteX4" fmla="*/ 205 w 471319"/>
                <a:gd name="connsiteY4" fmla="*/ 94671 h 492993"/>
                <a:gd name="connsiteX5" fmla="*/ 205 w 471319"/>
                <a:gd name="connsiteY5" fmla="*/ 384214 h 492993"/>
                <a:gd name="connsiteX6" fmla="*/ 0 w 471319"/>
                <a:gd name="connsiteY6" fmla="*/ 398789 h 492993"/>
                <a:gd name="connsiteX7" fmla="*/ 94227 w 471319"/>
                <a:gd name="connsiteY7" fmla="*/ 492993 h 492993"/>
                <a:gd name="connsiteX8" fmla="*/ 108915 w 471319"/>
                <a:gd name="connsiteY8" fmla="*/ 492925 h 492993"/>
                <a:gd name="connsiteX9" fmla="*/ 362586 w 471319"/>
                <a:gd name="connsiteY9" fmla="*/ 492925 h 492993"/>
                <a:gd name="connsiteX10" fmla="*/ 376978 w 471319"/>
                <a:gd name="connsiteY10" fmla="*/ 492993 h 492993"/>
                <a:gd name="connsiteX11" fmla="*/ 471194 w 471319"/>
                <a:gd name="connsiteY11" fmla="*/ 398789 h 492993"/>
                <a:gd name="connsiteX12" fmla="*/ 471308 w 471319"/>
                <a:gd name="connsiteY12" fmla="*/ 384214 h 492993"/>
                <a:gd name="connsiteX13" fmla="*/ 471308 w 471319"/>
                <a:gd name="connsiteY13" fmla="*/ 369833 h 492993"/>
                <a:gd name="connsiteX14" fmla="*/ 348148 w 471319"/>
                <a:gd name="connsiteY14" fmla="*/ 369833 h 492993"/>
                <a:gd name="connsiteX15" fmla="*/ 297416 w 471319"/>
                <a:gd name="connsiteY15" fmla="*/ 420451 h 492993"/>
                <a:gd name="connsiteX16" fmla="*/ 174267 w 471319"/>
                <a:gd name="connsiteY16" fmla="*/ 420451 h 492993"/>
                <a:gd name="connsiteX17" fmla="*/ 123524 w 471319"/>
                <a:gd name="connsiteY17" fmla="*/ 369708 h 492993"/>
                <a:gd name="connsiteX18" fmla="*/ 123410 w 471319"/>
                <a:gd name="connsiteY18" fmla="*/ 362472 h 492993"/>
                <a:gd name="connsiteX19" fmla="*/ 123410 w 471319"/>
                <a:gd name="connsiteY19" fmla="*/ 130567 h 492993"/>
                <a:gd name="connsiteX20" fmla="*/ 123570 w 471319"/>
                <a:gd name="connsiteY20" fmla="*/ 123080 h 492993"/>
                <a:gd name="connsiteX21" fmla="*/ 174313 w 471319"/>
                <a:gd name="connsiteY21" fmla="*/ 72838 h 492993"/>
                <a:gd name="connsiteX22" fmla="*/ 181401 w 471319"/>
                <a:gd name="connsiteY22" fmla="*/ 72599 h 492993"/>
                <a:gd name="connsiteX23" fmla="*/ 290123 w 471319"/>
                <a:gd name="connsiteY23" fmla="*/ 72599 h 492993"/>
                <a:gd name="connsiteX24" fmla="*/ 297428 w 471319"/>
                <a:gd name="connsiteY24" fmla="*/ 72838 h 492993"/>
                <a:gd name="connsiteX25" fmla="*/ 348159 w 471319"/>
                <a:gd name="connsiteY25" fmla="*/ 123422 h 492993"/>
                <a:gd name="connsiteX26" fmla="*/ 471319 w 471319"/>
                <a:gd name="connsiteY26" fmla="*/ 123422 h 492993"/>
                <a:gd name="connsiteX27" fmla="*/ 471319 w 471319"/>
                <a:gd name="connsiteY27" fmla="*/ 108836 h 492993"/>
                <a:gd name="connsiteX28" fmla="*/ 471206 w 471319"/>
                <a:gd name="connsiteY28" fmla="*/ 94239 h 492993"/>
                <a:gd name="connsiteX29" fmla="*/ 376989 w 471319"/>
                <a:gd name="connsiteY29" fmla="*/ 11 h 492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71319" h="492993">
                  <a:moveTo>
                    <a:pt x="376978" y="0"/>
                  </a:moveTo>
                  <a:lnTo>
                    <a:pt x="362586" y="114"/>
                  </a:lnTo>
                  <a:lnTo>
                    <a:pt x="108915" y="114"/>
                  </a:lnTo>
                  <a:lnTo>
                    <a:pt x="94432" y="444"/>
                  </a:lnTo>
                  <a:cubicBezTo>
                    <a:pt x="42403" y="444"/>
                    <a:pt x="205" y="42631"/>
                    <a:pt x="205" y="94671"/>
                  </a:cubicBezTo>
                  <a:lnTo>
                    <a:pt x="205" y="384214"/>
                  </a:lnTo>
                  <a:lnTo>
                    <a:pt x="0" y="398789"/>
                  </a:lnTo>
                  <a:cubicBezTo>
                    <a:pt x="0" y="450817"/>
                    <a:pt x="42187" y="492993"/>
                    <a:pt x="94227" y="492993"/>
                  </a:cubicBezTo>
                  <a:lnTo>
                    <a:pt x="108915" y="492925"/>
                  </a:lnTo>
                  <a:lnTo>
                    <a:pt x="362586" y="492925"/>
                  </a:lnTo>
                  <a:lnTo>
                    <a:pt x="376978" y="492993"/>
                  </a:lnTo>
                  <a:cubicBezTo>
                    <a:pt x="429007" y="492993"/>
                    <a:pt x="471194" y="450817"/>
                    <a:pt x="471194" y="398789"/>
                  </a:cubicBezTo>
                  <a:lnTo>
                    <a:pt x="471308" y="384214"/>
                  </a:lnTo>
                  <a:lnTo>
                    <a:pt x="471308" y="369833"/>
                  </a:lnTo>
                  <a:lnTo>
                    <a:pt x="348148" y="369833"/>
                  </a:lnTo>
                  <a:cubicBezTo>
                    <a:pt x="348080" y="397810"/>
                    <a:pt x="325393" y="420451"/>
                    <a:pt x="297416" y="420451"/>
                  </a:cubicBezTo>
                  <a:lnTo>
                    <a:pt x="174267" y="420451"/>
                  </a:lnTo>
                  <a:cubicBezTo>
                    <a:pt x="146245" y="420451"/>
                    <a:pt x="123524" y="397742"/>
                    <a:pt x="123524" y="369708"/>
                  </a:cubicBezTo>
                  <a:lnTo>
                    <a:pt x="123410" y="362472"/>
                  </a:lnTo>
                  <a:lnTo>
                    <a:pt x="123410" y="130567"/>
                  </a:lnTo>
                  <a:lnTo>
                    <a:pt x="123570" y="123080"/>
                  </a:lnTo>
                  <a:cubicBezTo>
                    <a:pt x="123570" y="95069"/>
                    <a:pt x="146290" y="72838"/>
                    <a:pt x="174313" y="72838"/>
                  </a:cubicBezTo>
                  <a:lnTo>
                    <a:pt x="181401" y="72599"/>
                  </a:lnTo>
                  <a:lnTo>
                    <a:pt x="290123" y="72599"/>
                  </a:lnTo>
                  <a:lnTo>
                    <a:pt x="297428" y="72838"/>
                  </a:lnTo>
                  <a:cubicBezTo>
                    <a:pt x="325393" y="72838"/>
                    <a:pt x="348068" y="95468"/>
                    <a:pt x="348159" y="123422"/>
                  </a:cubicBezTo>
                  <a:lnTo>
                    <a:pt x="471319" y="123422"/>
                  </a:lnTo>
                  <a:lnTo>
                    <a:pt x="471319" y="108836"/>
                  </a:lnTo>
                  <a:lnTo>
                    <a:pt x="471206" y="94239"/>
                  </a:lnTo>
                  <a:cubicBezTo>
                    <a:pt x="471206" y="42210"/>
                    <a:pt x="429018" y="11"/>
                    <a:pt x="376989" y="11"/>
                  </a:cubicBez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Freihandform: Form 13">
              <a:extLst>
                <a:ext uri="{FF2B5EF4-FFF2-40B4-BE49-F238E27FC236}">
                  <a16:creationId xmlns:a16="http://schemas.microsoft.com/office/drawing/2014/main" id="{E59255CC-BBF7-FCF5-3251-8C5ADB6D76CE}"/>
                </a:ext>
              </a:extLst>
            </p:cNvPr>
            <p:cNvSpPr/>
            <p:nvPr/>
          </p:nvSpPr>
          <p:spPr bwMode="gray">
            <a:xfrm>
              <a:off x="1013066" y="4892449"/>
              <a:ext cx="14" cy="31"/>
            </a:xfrm>
            <a:custGeom>
              <a:avLst/>
              <a:gdLst>
                <a:gd name="connsiteX0" fmla="*/ 0 w 56"/>
                <a:gd name="connsiteY0" fmla="*/ 125 h 125"/>
                <a:gd name="connsiteX1" fmla="*/ 57 w 56"/>
                <a:gd name="connsiteY1" fmla="*/ 125 h 125"/>
                <a:gd name="connsiteX2" fmla="*/ 57 w 56"/>
                <a:gd name="connsiteY2" fmla="*/ 0 h 125"/>
                <a:gd name="connsiteX3" fmla="*/ 0 w 56"/>
                <a:gd name="connsiteY3" fmla="*/ 125 h 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25">
                  <a:moveTo>
                    <a:pt x="0" y="125"/>
                  </a:moveTo>
                  <a:lnTo>
                    <a:pt x="57" y="125"/>
                  </a:lnTo>
                  <a:cubicBezTo>
                    <a:pt x="57" y="125"/>
                    <a:pt x="57" y="46"/>
                    <a:pt x="57" y="0"/>
                  </a:cubicBezTo>
                  <a:lnTo>
                    <a:pt x="0" y="125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3" name="Freihandform: Form 14">
              <a:extLst>
                <a:ext uri="{FF2B5EF4-FFF2-40B4-BE49-F238E27FC236}">
                  <a16:creationId xmlns:a16="http://schemas.microsoft.com/office/drawing/2014/main" id="{025F9AA9-090B-4709-70D6-747E7D2EDE5E}"/>
                </a:ext>
              </a:extLst>
            </p:cNvPr>
            <p:cNvSpPr/>
            <p:nvPr/>
          </p:nvSpPr>
          <p:spPr bwMode="gray">
            <a:xfrm>
              <a:off x="1013066" y="4830411"/>
              <a:ext cx="14" cy="37"/>
            </a:xfrm>
            <a:custGeom>
              <a:avLst/>
              <a:gdLst>
                <a:gd name="connsiteX0" fmla="*/ 57 w 56"/>
                <a:gd name="connsiteY0" fmla="*/ 148 h 147"/>
                <a:gd name="connsiteX1" fmla="*/ 57 w 56"/>
                <a:gd name="connsiteY1" fmla="*/ 0 h 147"/>
                <a:gd name="connsiteX2" fmla="*/ 0 w 56"/>
                <a:gd name="connsiteY2" fmla="*/ 0 h 147"/>
                <a:gd name="connsiteX3" fmla="*/ 57 w 56"/>
                <a:gd name="connsiteY3" fmla="*/ 148 h 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47">
                  <a:moveTo>
                    <a:pt x="57" y="148"/>
                  </a:moveTo>
                  <a:cubicBezTo>
                    <a:pt x="57" y="148"/>
                    <a:pt x="57" y="46"/>
                    <a:pt x="57" y="0"/>
                  </a:cubicBezTo>
                  <a:lnTo>
                    <a:pt x="0" y="0"/>
                  </a:lnTo>
                  <a:lnTo>
                    <a:pt x="57" y="148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Freihandform: Form 15">
              <a:extLst>
                <a:ext uri="{FF2B5EF4-FFF2-40B4-BE49-F238E27FC236}">
                  <a16:creationId xmlns:a16="http://schemas.microsoft.com/office/drawing/2014/main" id="{2BBBB58A-35CB-9E40-9C41-54BC23098C30}"/>
                </a:ext>
              </a:extLst>
            </p:cNvPr>
            <p:cNvSpPr/>
            <p:nvPr/>
          </p:nvSpPr>
          <p:spPr bwMode="gray">
            <a:xfrm>
              <a:off x="783005" y="4799352"/>
              <a:ext cx="146271" cy="124150"/>
            </a:xfrm>
            <a:custGeom>
              <a:avLst/>
              <a:gdLst>
                <a:gd name="connsiteX0" fmla="*/ 138281 w 580712"/>
                <a:gd name="connsiteY0" fmla="*/ 492880 h 492890"/>
                <a:gd name="connsiteX1" fmla="*/ 183654 w 580712"/>
                <a:gd name="connsiteY1" fmla="*/ 391587 h 492890"/>
                <a:gd name="connsiteX2" fmla="*/ 396820 w 580712"/>
                <a:gd name="connsiteY2" fmla="*/ 391587 h 492890"/>
                <a:gd name="connsiteX3" fmla="*/ 441886 w 580712"/>
                <a:gd name="connsiteY3" fmla="*/ 492754 h 492890"/>
                <a:gd name="connsiteX4" fmla="*/ 580713 w 580712"/>
                <a:gd name="connsiteY4" fmla="*/ 492754 h 492890"/>
                <a:gd name="connsiteX5" fmla="*/ 348523 w 580712"/>
                <a:gd name="connsiteY5" fmla="*/ 0 h 492890"/>
                <a:gd name="connsiteX6" fmla="*/ 232190 w 580712"/>
                <a:gd name="connsiteY6" fmla="*/ 0 h 492890"/>
                <a:gd name="connsiteX7" fmla="*/ 0 w 580712"/>
                <a:gd name="connsiteY7" fmla="*/ 492891 h 492890"/>
                <a:gd name="connsiteX8" fmla="*/ 138269 w 580712"/>
                <a:gd name="connsiteY8" fmla="*/ 492868 h 492890"/>
                <a:gd name="connsiteX9" fmla="*/ 290192 w 580712"/>
                <a:gd name="connsiteY9" fmla="*/ 152229 h 492890"/>
                <a:gd name="connsiteX10" fmla="*/ 364543 w 580712"/>
                <a:gd name="connsiteY10" fmla="*/ 319033 h 492890"/>
                <a:gd name="connsiteX11" fmla="*/ 215522 w 580712"/>
                <a:gd name="connsiteY11" fmla="*/ 319147 h 492890"/>
                <a:gd name="connsiteX12" fmla="*/ 290180 w 580712"/>
                <a:gd name="connsiteY12" fmla="*/ 152229 h 492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0712" h="492890">
                  <a:moveTo>
                    <a:pt x="138281" y="492880"/>
                  </a:moveTo>
                  <a:lnTo>
                    <a:pt x="183654" y="391587"/>
                  </a:lnTo>
                  <a:lnTo>
                    <a:pt x="396820" y="391587"/>
                  </a:lnTo>
                  <a:lnTo>
                    <a:pt x="441886" y="492754"/>
                  </a:lnTo>
                  <a:lnTo>
                    <a:pt x="580713" y="492754"/>
                  </a:lnTo>
                  <a:lnTo>
                    <a:pt x="348523" y="0"/>
                  </a:lnTo>
                  <a:lnTo>
                    <a:pt x="232190" y="0"/>
                  </a:lnTo>
                  <a:lnTo>
                    <a:pt x="0" y="492891"/>
                  </a:lnTo>
                  <a:lnTo>
                    <a:pt x="138269" y="492868"/>
                  </a:lnTo>
                  <a:close/>
                  <a:moveTo>
                    <a:pt x="290192" y="152229"/>
                  </a:moveTo>
                  <a:lnTo>
                    <a:pt x="364543" y="319033"/>
                  </a:lnTo>
                  <a:lnTo>
                    <a:pt x="215522" y="319147"/>
                  </a:lnTo>
                  <a:lnTo>
                    <a:pt x="290180" y="152229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DA434CD5-2E74-93E1-49B0-49E5472408C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325664" y="0"/>
            <a:ext cx="0" cy="874800"/>
          </a:xfrm>
          <a:prstGeom prst="line">
            <a:avLst/>
          </a:prstGeom>
          <a:ln w="9525">
            <a:solidFill>
              <a:srgbClr val="E200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496DB4A4-A979-B3FC-2D37-F7C701F403F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112000" y="860400"/>
            <a:ext cx="403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496DB4A4-A979-B3FC-2D37-F7C701F403F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1979815"/>
            <a:ext cx="230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8703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19">
          <p15:clr>
            <a:srgbClr val="FBAE40"/>
          </p15:clr>
        </p15:guide>
        <p15:guide id="2" orient="horz" pos="881">
          <p15:clr>
            <a:srgbClr val="FBAE40"/>
          </p15:clr>
        </p15:guide>
        <p15:guide id="3" orient="horz" pos="1507">
          <p15:clr>
            <a:srgbClr val="FBAE40"/>
          </p15:clr>
        </p15:guide>
        <p15:guide id="4" pos="32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Bildplatzhalter 41">
            <a:extLst>
              <a:ext uri="{FF2B5EF4-FFF2-40B4-BE49-F238E27FC236}">
                <a16:creationId xmlns:a16="http://schemas.microsoft.com/office/drawing/2014/main" id="{744EFB81-4661-4DA1-B8C1-B364AF8D26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311526" y="1068432"/>
            <a:ext cx="5832474" cy="360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411980" y="1319080"/>
            <a:ext cx="6155757" cy="738664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2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411980" y="2129825"/>
            <a:ext cx="6155757" cy="261610"/>
          </a:xfrm>
        </p:spPr>
        <p:txBody>
          <a:bodyPr anchor="t">
            <a:noAutofit/>
          </a:bodyPr>
          <a:lstStyle>
            <a:lvl1pPr marL="0" indent="0" algn="l">
              <a:buNone/>
              <a:defRPr sz="170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FE9D5F9F-4E00-CCA7-DEE0-E4FEED5B08A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2411980" y="655586"/>
            <a:ext cx="2577834" cy="213183"/>
            <a:chOff x="1151970" y="4799186"/>
            <a:chExt cx="1510114" cy="124884"/>
          </a:xfrm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E9A5EFFA-FC87-21AA-7ADE-EAD205695F4B}"/>
                </a:ext>
              </a:extLst>
            </p:cNvPr>
            <p:cNvSpPr/>
            <p:nvPr/>
          </p:nvSpPr>
          <p:spPr bwMode="gray">
            <a:xfrm>
              <a:off x="2169164" y="4817375"/>
              <a:ext cx="61198" cy="88394"/>
            </a:xfrm>
            <a:custGeom>
              <a:avLst/>
              <a:gdLst>
                <a:gd name="connsiteX0" fmla="*/ 191959 w 242964"/>
                <a:gd name="connsiteY0" fmla="*/ 0 h 350935"/>
                <a:gd name="connsiteX1" fmla="*/ 51028 w 242964"/>
                <a:gd name="connsiteY1" fmla="*/ 0 h 350935"/>
                <a:gd name="connsiteX2" fmla="*/ 0 w 242964"/>
                <a:gd name="connsiteY2" fmla="*/ 51016 h 350935"/>
                <a:gd name="connsiteX3" fmla="*/ 0 w 242964"/>
                <a:gd name="connsiteY3" fmla="*/ 299908 h 350935"/>
                <a:gd name="connsiteX4" fmla="*/ 51028 w 242964"/>
                <a:gd name="connsiteY4" fmla="*/ 350935 h 350935"/>
                <a:gd name="connsiteX5" fmla="*/ 191959 w 242964"/>
                <a:gd name="connsiteY5" fmla="*/ 350935 h 350935"/>
                <a:gd name="connsiteX6" fmla="*/ 242964 w 242964"/>
                <a:gd name="connsiteY6" fmla="*/ 299908 h 350935"/>
                <a:gd name="connsiteX7" fmla="*/ 242964 w 242964"/>
                <a:gd name="connsiteY7" fmla="*/ 51028 h 350935"/>
                <a:gd name="connsiteX8" fmla="*/ 191959 w 242964"/>
                <a:gd name="connsiteY8" fmla="*/ 0 h 35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964" h="350935">
                  <a:moveTo>
                    <a:pt x="191959" y="0"/>
                  </a:moveTo>
                  <a:lnTo>
                    <a:pt x="51028" y="0"/>
                  </a:lnTo>
                  <a:cubicBezTo>
                    <a:pt x="22858" y="0"/>
                    <a:pt x="0" y="22846"/>
                    <a:pt x="0" y="51016"/>
                  </a:cubicBezTo>
                  <a:lnTo>
                    <a:pt x="0" y="299908"/>
                  </a:lnTo>
                  <a:cubicBezTo>
                    <a:pt x="0" y="328078"/>
                    <a:pt x="22858" y="350935"/>
                    <a:pt x="51028" y="350935"/>
                  </a:cubicBezTo>
                  <a:lnTo>
                    <a:pt x="191959" y="350935"/>
                  </a:lnTo>
                  <a:cubicBezTo>
                    <a:pt x="220130" y="350935"/>
                    <a:pt x="242964" y="328078"/>
                    <a:pt x="242964" y="299908"/>
                  </a:cubicBezTo>
                  <a:lnTo>
                    <a:pt x="242964" y="51028"/>
                  </a:lnTo>
                  <a:cubicBezTo>
                    <a:pt x="242964" y="22846"/>
                    <a:pt x="220130" y="0"/>
                    <a:pt x="191959" y="0"/>
                  </a:cubicBezTo>
                  <a:close/>
                </a:path>
              </a:pathLst>
            </a:custGeom>
            <a:noFill/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72D4BF95-B13F-97D5-EAC5-82BF0BF8F552}"/>
                </a:ext>
              </a:extLst>
            </p:cNvPr>
            <p:cNvSpPr/>
            <p:nvPr/>
          </p:nvSpPr>
          <p:spPr bwMode="gray">
            <a:xfrm>
              <a:off x="2281806" y="4799240"/>
              <a:ext cx="123076" cy="124658"/>
            </a:xfrm>
            <a:custGeom>
              <a:avLst/>
              <a:gdLst>
                <a:gd name="connsiteX0" fmla="*/ 370140 w 488624"/>
                <a:gd name="connsiteY0" fmla="*/ 11 h 494904"/>
                <a:gd name="connsiteX1" fmla="*/ 370140 w 488624"/>
                <a:gd name="connsiteY1" fmla="*/ 313424 h 494904"/>
                <a:gd name="connsiteX2" fmla="*/ 146120 w 488624"/>
                <a:gd name="connsiteY2" fmla="*/ 11 h 494904"/>
                <a:gd name="connsiteX3" fmla="*/ 637 w 488624"/>
                <a:gd name="connsiteY3" fmla="*/ 11 h 494904"/>
                <a:gd name="connsiteX4" fmla="*/ 0 w 488624"/>
                <a:gd name="connsiteY4" fmla="*/ 494905 h 494904"/>
                <a:gd name="connsiteX5" fmla="*/ 131705 w 488624"/>
                <a:gd name="connsiteY5" fmla="*/ 494882 h 494904"/>
                <a:gd name="connsiteX6" fmla="*/ 131068 w 488624"/>
                <a:gd name="connsiteY6" fmla="*/ 199514 h 494904"/>
                <a:gd name="connsiteX7" fmla="*/ 352153 w 488624"/>
                <a:gd name="connsiteY7" fmla="*/ 494882 h 494904"/>
                <a:gd name="connsiteX8" fmla="*/ 488625 w 488624"/>
                <a:gd name="connsiteY8" fmla="*/ 494882 h 494904"/>
                <a:gd name="connsiteX9" fmla="*/ 487942 w 488624"/>
                <a:gd name="connsiteY9" fmla="*/ 0 h 494904"/>
                <a:gd name="connsiteX10" fmla="*/ 370152 w 488624"/>
                <a:gd name="connsiteY10" fmla="*/ 0 h 494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624" h="494904">
                  <a:moveTo>
                    <a:pt x="370140" y="11"/>
                  </a:moveTo>
                  <a:lnTo>
                    <a:pt x="370140" y="313424"/>
                  </a:lnTo>
                  <a:cubicBezTo>
                    <a:pt x="303162" y="211824"/>
                    <a:pt x="213099" y="101634"/>
                    <a:pt x="146120" y="11"/>
                  </a:cubicBezTo>
                  <a:lnTo>
                    <a:pt x="637" y="11"/>
                  </a:lnTo>
                  <a:lnTo>
                    <a:pt x="0" y="494905"/>
                  </a:lnTo>
                  <a:lnTo>
                    <a:pt x="131705" y="494882"/>
                  </a:lnTo>
                  <a:lnTo>
                    <a:pt x="131068" y="199514"/>
                  </a:lnTo>
                  <a:lnTo>
                    <a:pt x="352153" y="494882"/>
                  </a:lnTo>
                  <a:lnTo>
                    <a:pt x="488625" y="494882"/>
                  </a:lnTo>
                  <a:lnTo>
                    <a:pt x="487942" y="0"/>
                  </a:lnTo>
                  <a:lnTo>
                    <a:pt x="370152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7921D6E1-F56D-C112-4919-6B6FEDE296D7}"/>
                </a:ext>
              </a:extLst>
            </p:cNvPr>
            <p:cNvSpPr/>
            <p:nvPr/>
          </p:nvSpPr>
          <p:spPr bwMode="gray">
            <a:xfrm>
              <a:off x="1966345" y="4799243"/>
              <a:ext cx="108782" cy="124649"/>
            </a:xfrm>
            <a:custGeom>
              <a:avLst/>
              <a:gdLst>
                <a:gd name="connsiteX0" fmla="*/ 0 w 431874"/>
                <a:gd name="connsiteY0" fmla="*/ 66979 h 494870"/>
                <a:gd name="connsiteX1" fmla="*/ 157350 w 431874"/>
                <a:gd name="connsiteY1" fmla="*/ 67479 h 494870"/>
                <a:gd name="connsiteX2" fmla="*/ 157053 w 431874"/>
                <a:gd name="connsiteY2" fmla="*/ 494233 h 494870"/>
                <a:gd name="connsiteX3" fmla="*/ 277313 w 431874"/>
                <a:gd name="connsiteY3" fmla="*/ 494871 h 494870"/>
                <a:gd name="connsiteX4" fmla="*/ 277130 w 431874"/>
                <a:gd name="connsiteY4" fmla="*/ 66979 h 494870"/>
                <a:gd name="connsiteX5" fmla="*/ 431874 w 431874"/>
                <a:gd name="connsiteY5" fmla="*/ 66979 h 494870"/>
                <a:gd name="connsiteX6" fmla="*/ 431874 w 431874"/>
                <a:gd name="connsiteY6" fmla="*/ 0 h 494870"/>
                <a:gd name="connsiteX7" fmla="*/ 0 w 431874"/>
                <a:gd name="connsiteY7" fmla="*/ 0 h 494870"/>
                <a:gd name="connsiteX8" fmla="*/ 0 w 431874"/>
                <a:gd name="connsiteY8" fmla="*/ 66979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1874" h="494870">
                  <a:moveTo>
                    <a:pt x="0" y="66979"/>
                  </a:moveTo>
                  <a:lnTo>
                    <a:pt x="157350" y="67479"/>
                  </a:lnTo>
                  <a:lnTo>
                    <a:pt x="157053" y="494233"/>
                  </a:lnTo>
                  <a:lnTo>
                    <a:pt x="277313" y="494871"/>
                  </a:lnTo>
                  <a:lnTo>
                    <a:pt x="277130" y="66979"/>
                  </a:lnTo>
                  <a:lnTo>
                    <a:pt x="431874" y="66979"/>
                  </a:lnTo>
                  <a:lnTo>
                    <a:pt x="431874" y="0"/>
                  </a:lnTo>
                  <a:lnTo>
                    <a:pt x="0" y="0"/>
                  </a:lnTo>
                  <a:lnTo>
                    <a:pt x="0" y="66979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9A17A814-4851-931F-5B41-4BCB63073258}"/>
                </a:ext>
              </a:extLst>
            </p:cNvPr>
            <p:cNvSpPr/>
            <p:nvPr/>
          </p:nvSpPr>
          <p:spPr bwMode="gray">
            <a:xfrm>
              <a:off x="1718399" y="4799186"/>
              <a:ext cx="123041" cy="124709"/>
            </a:xfrm>
            <a:custGeom>
              <a:avLst/>
              <a:gdLst>
                <a:gd name="connsiteX0" fmla="*/ 369844 w 488487"/>
                <a:gd name="connsiteY0" fmla="*/ 313413 h 495109"/>
                <a:gd name="connsiteX1" fmla="*/ 145824 w 488487"/>
                <a:gd name="connsiteY1" fmla="*/ 0 h 495109"/>
                <a:gd name="connsiteX2" fmla="*/ 318 w 488487"/>
                <a:gd name="connsiteY2" fmla="*/ 0 h 495109"/>
                <a:gd name="connsiteX3" fmla="*/ 0 w 488487"/>
                <a:gd name="connsiteY3" fmla="*/ 495109 h 495109"/>
                <a:gd name="connsiteX4" fmla="*/ 130157 w 488487"/>
                <a:gd name="connsiteY4" fmla="*/ 494882 h 495109"/>
                <a:gd name="connsiteX5" fmla="*/ 130783 w 488487"/>
                <a:gd name="connsiteY5" fmla="*/ 199514 h 495109"/>
                <a:gd name="connsiteX6" fmla="*/ 351868 w 488487"/>
                <a:gd name="connsiteY6" fmla="*/ 494882 h 495109"/>
                <a:gd name="connsiteX7" fmla="*/ 488328 w 488487"/>
                <a:gd name="connsiteY7" fmla="*/ 494882 h 495109"/>
                <a:gd name="connsiteX8" fmla="*/ 488488 w 488487"/>
                <a:gd name="connsiteY8" fmla="*/ 0 h 495109"/>
                <a:gd name="connsiteX9" fmla="*/ 369844 w 488487"/>
                <a:gd name="connsiteY9" fmla="*/ 0 h 495109"/>
                <a:gd name="connsiteX10" fmla="*/ 369844 w 488487"/>
                <a:gd name="connsiteY10" fmla="*/ 313413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487" h="495109">
                  <a:moveTo>
                    <a:pt x="369844" y="313413"/>
                  </a:moveTo>
                  <a:cubicBezTo>
                    <a:pt x="302866" y="211813"/>
                    <a:pt x="212803" y="101623"/>
                    <a:pt x="145824" y="0"/>
                  </a:cubicBezTo>
                  <a:lnTo>
                    <a:pt x="318" y="0"/>
                  </a:lnTo>
                  <a:lnTo>
                    <a:pt x="0" y="495109"/>
                  </a:lnTo>
                  <a:lnTo>
                    <a:pt x="130157" y="494882"/>
                  </a:lnTo>
                  <a:lnTo>
                    <a:pt x="130783" y="199514"/>
                  </a:lnTo>
                  <a:lnTo>
                    <a:pt x="351868" y="494882"/>
                  </a:lnTo>
                  <a:lnTo>
                    <a:pt x="488328" y="494882"/>
                  </a:lnTo>
                  <a:lnTo>
                    <a:pt x="488488" y="0"/>
                  </a:lnTo>
                  <a:lnTo>
                    <a:pt x="369844" y="0"/>
                  </a:lnTo>
                  <a:lnTo>
                    <a:pt x="369844" y="31341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EFCE9B7D-5895-C5CC-42DB-4229874F71C7}"/>
                </a:ext>
              </a:extLst>
            </p:cNvPr>
            <p:cNvSpPr/>
            <p:nvPr/>
          </p:nvSpPr>
          <p:spPr bwMode="gray">
            <a:xfrm>
              <a:off x="2561447" y="4799243"/>
              <a:ext cx="100637" cy="124827"/>
            </a:xfrm>
            <a:custGeom>
              <a:avLst/>
              <a:gdLst>
                <a:gd name="connsiteX0" fmla="*/ 121328 w 399539"/>
                <a:gd name="connsiteY0" fmla="*/ 428893 h 495575"/>
                <a:gd name="connsiteX1" fmla="*/ 121328 w 399539"/>
                <a:gd name="connsiteY1" fmla="*/ 0 h 495575"/>
                <a:gd name="connsiteX2" fmla="*/ 1229 w 399539"/>
                <a:gd name="connsiteY2" fmla="*/ 0 h 495575"/>
                <a:gd name="connsiteX3" fmla="*/ 0 w 399539"/>
                <a:gd name="connsiteY3" fmla="*/ 495576 h 495575"/>
                <a:gd name="connsiteX4" fmla="*/ 399539 w 399539"/>
                <a:gd name="connsiteY4" fmla="*/ 495576 h 495575"/>
                <a:gd name="connsiteX5" fmla="*/ 399539 w 399539"/>
                <a:gd name="connsiteY5" fmla="*/ 428597 h 495575"/>
                <a:gd name="connsiteX6" fmla="*/ 121328 w 399539"/>
                <a:gd name="connsiteY6" fmla="*/ 428893 h 49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9539" h="495575">
                  <a:moveTo>
                    <a:pt x="121328" y="428893"/>
                  </a:moveTo>
                  <a:lnTo>
                    <a:pt x="121328" y="0"/>
                  </a:lnTo>
                  <a:lnTo>
                    <a:pt x="1229" y="0"/>
                  </a:lnTo>
                  <a:lnTo>
                    <a:pt x="0" y="495576"/>
                  </a:lnTo>
                  <a:lnTo>
                    <a:pt x="399539" y="495576"/>
                  </a:lnTo>
                  <a:lnTo>
                    <a:pt x="399539" y="428597"/>
                  </a:lnTo>
                  <a:lnTo>
                    <a:pt x="121328" y="42889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DD131FB-42C0-BD8E-565E-2BB5119EE831}"/>
                </a:ext>
              </a:extLst>
            </p:cNvPr>
            <p:cNvSpPr/>
            <p:nvPr/>
          </p:nvSpPr>
          <p:spPr bwMode="gray">
            <a:xfrm>
              <a:off x="1336379" y="4799243"/>
              <a:ext cx="108784" cy="124649"/>
            </a:xfrm>
            <a:custGeom>
              <a:avLst/>
              <a:gdLst>
                <a:gd name="connsiteX0" fmla="*/ 0 w 431885"/>
                <a:gd name="connsiteY0" fmla="*/ 66979 h 494870"/>
                <a:gd name="connsiteX1" fmla="*/ 157349 w 431885"/>
                <a:gd name="connsiteY1" fmla="*/ 67479 h 494870"/>
                <a:gd name="connsiteX2" fmla="*/ 157042 w 431885"/>
                <a:gd name="connsiteY2" fmla="*/ 494233 h 494870"/>
                <a:gd name="connsiteX3" fmla="*/ 277324 w 431885"/>
                <a:gd name="connsiteY3" fmla="*/ 494871 h 494870"/>
                <a:gd name="connsiteX4" fmla="*/ 277153 w 431885"/>
                <a:gd name="connsiteY4" fmla="*/ 66979 h 494870"/>
                <a:gd name="connsiteX5" fmla="*/ 431885 w 431885"/>
                <a:gd name="connsiteY5" fmla="*/ 66979 h 494870"/>
                <a:gd name="connsiteX6" fmla="*/ 431885 w 431885"/>
                <a:gd name="connsiteY6" fmla="*/ 0 h 494870"/>
                <a:gd name="connsiteX7" fmla="*/ 0 w 431885"/>
                <a:gd name="connsiteY7" fmla="*/ 0 h 494870"/>
                <a:gd name="connsiteX8" fmla="*/ 0 w 431885"/>
                <a:gd name="connsiteY8" fmla="*/ 66979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1885" h="494870">
                  <a:moveTo>
                    <a:pt x="0" y="66979"/>
                  </a:moveTo>
                  <a:lnTo>
                    <a:pt x="157349" y="67479"/>
                  </a:lnTo>
                  <a:lnTo>
                    <a:pt x="157042" y="494233"/>
                  </a:lnTo>
                  <a:lnTo>
                    <a:pt x="277324" y="494871"/>
                  </a:lnTo>
                  <a:lnTo>
                    <a:pt x="277153" y="66979"/>
                  </a:lnTo>
                  <a:lnTo>
                    <a:pt x="431885" y="66979"/>
                  </a:lnTo>
                  <a:lnTo>
                    <a:pt x="431885" y="0"/>
                  </a:lnTo>
                  <a:lnTo>
                    <a:pt x="0" y="0"/>
                  </a:lnTo>
                  <a:lnTo>
                    <a:pt x="0" y="66979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1E335E40-6976-5E51-3224-5FFEE6FCC9BE}"/>
                </a:ext>
              </a:extLst>
            </p:cNvPr>
            <p:cNvSpPr/>
            <p:nvPr/>
          </p:nvSpPr>
          <p:spPr bwMode="gray">
            <a:xfrm>
              <a:off x="1457377" y="4799243"/>
              <a:ext cx="107039" cy="124489"/>
            </a:xfrm>
            <a:custGeom>
              <a:avLst/>
              <a:gdLst>
                <a:gd name="connsiteX0" fmla="*/ 0 w 424956"/>
                <a:gd name="connsiteY0" fmla="*/ 494233 h 494233"/>
                <a:gd name="connsiteX1" fmla="*/ 424956 w 424956"/>
                <a:gd name="connsiteY1" fmla="*/ 494233 h 494233"/>
                <a:gd name="connsiteX2" fmla="*/ 424956 w 424956"/>
                <a:gd name="connsiteY2" fmla="*/ 429564 h 494233"/>
                <a:gd name="connsiteX3" fmla="*/ 125379 w 424956"/>
                <a:gd name="connsiteY3" fmla="*/ 428893 h 494233"/>
                <a:gd name="connsiteX4" fmla="*/ 124730 w 424956"/>
                <a:gd name="connsiteY4" fmla="*/ 284048 h 494233"/>
                <a:gd name="connsiteX5" fmla="*/ 374156 w 424956"/>
                <a:gd name="connsiteY5" fmla="*/ 284048 h 494233"/>
                <a:gd name="connsiteX6" fmla="*/ 374156 w 424956"/>
                <a:gd name="connsiteY6" fmla="*/ 212473 h 494233"/>
                <a:gd name="connsiteX7" fmla="*/ 125379 w 424956"/>
                <a:gd name="connsiteY7" fmla="*/ 212962 h 494233"/>
                <a:gd name="connsiteX8" fmla="*/ 124730 w 424956"/>
                <a:gd name="connsiteY8" fmla="*/ 66979 h 494233"/>
                <a:gd name="connsiteX9" fmla="*/ 424956 w 424956"/>
                <a:gd name="connsiteY9" fmla="*/ 66979 h 494233"/>
                <a:gd name="connsiteX10" fmla="*/ 424956 w 424956"/>
                <a:gd name="connsiteY10" fmla="*/ 0 h 494233"/>
                <a:gd name="connsiteX11" fmla="*/ 0 w 424956"/>
                <a:gd name="connsiteY11" fmla="*/ 0 h 494233"/>
                <a:gd name="connsiteX12" fmla="*/ 0 w 424956"/>
                <a:gd name="connsiteY12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4956" h="494233">
                  <a:moveTo>
                    <a:pt x="0" y="494233"/>
                  </a:moveTo>
                  <a:lnTo>
                    <a:pt x="424956" y="494233"/>
                  </a:lnTo>
                  <a:lnTo>
                    <a:pt x="424956" y="429564"/>
                  </a:lnTo>
                  <a:lnTo>
                    <a:pt x="125379" y="428893"/>
                  </a:lnTo>
                  <a:lnTo>
                    <a:pt x="124730" y="284048"/>
                  </a:lnTo>
                  <a:lnTo>
                    <a:pt x="374156" y="284048"/>
                  </a:lnTo>
                  <a:lnTo>
                    <a:pt x="374156" y="212473"/>
                  </a:lnTo>
                  <a:lnTo>
                    <a:pt x="125379" y="212962"/>
                  </a:lnTo>
                  <a:lnTo>
                    <a:pt x="124730" y="66979"/>
                  </a:lnTo>
                  <a:lnTo>
                    <a:pt x="424956" y="66979"/>
                  </a:lnTo>
                  <a:lnTo>
                    <a:pt x="424956" y="0"/>
                  </a:lnTo>
                  <a:lnTo>
                    <a:pt x="0" y="0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45B98A21-8E82-FCA3-0715-7527E76A0932}"/>
                </a:ext>
              </a:extLst>
            </p:cNvPr>
            <p:cNvSpPr/>
            <p:nvPr/>
          </p:nvSpPr>
          <p:spPr bwMode="gray">
            <a:xfrm>
              <a:off x="1151970" y="4799469"/>
              <a:ext cx="29087" cy="124489"/>
            </a:xfrm>
            <a:custGeom>
              <a:avLst/>
              <a:gdLst>
                <a:gd name="connsiteX0" fmla="*/ 0 w 115480"/>
                <a:gd name="connsiteY0" fmla="*/ 0 h 494233"/>
                <a:gd name="connsiteX1" fmla="*/ 115480 w 115480"/>
                <a:gd name="connsiteY1" fmla="*/ 0 h 494233"/>
                <a:gd name="connsiteX2" fmla="*/ 115480 w 115480"/>
                <a:gd name="connsiteY2" fmla="*/ 494233 h 494233"/>
                <a:gd name="connsiteX3" fmla="*/ 0 w 115480"/>
                <a:gd name="connsiteY3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480" h="494233">
                  <a:moveTo>
                    <a:pt x="0" y="0"/>
                  </a:moveTo>
                  <a:lnTo>
                    <a:pt x="115480" y="0"/>
                  </a:lnTo>
                  <a:lnTo>
                    <a:pt x="115480" y="494233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F6AAABBC-27AB-72CB-8DC1-6A42E4C590C8}"/>
                </a:ext>
              </a:extLst>
            </p:cNvPr>
            <p:cNvSpPr/>
            <p:nvPr/>
          </p:nvSpPr>
          <p:spPr bwMode="gray">
            <a:xfrm>
              <a:off x="1201556" y="4799240"/>
              <a:ext cx="123079" cy="124658"/>
            </a:xfrm>
            <a:custGeom>
              <a:avLst/>
              <a:gdLst>
                <a:gd name="connsiteX0" fmla="*/ 370163 w 488635"/>
                <a:gd name="connsiteY0" fmla="*/ 11 h 494904"/>
                <a:gd name="connsiteX1" fmla="*/ 370163 w 488635"/>
                <a:gd name="connsiteY1" fmla="*/ 313424 h 494904"/>
                <a:gd name="connsiteX2" fmla="*/ 146142 w 488635"/>
                <a:gd name="connsiteY2" fmla="*/ 11 h 494904"/>
                <a:gd name="connsiteX3" fmla="*/ 637 w 488635"/>
                <a:gd name="connsiteY3" fmla="*/ 11 h 494904"/>
                <a:gd name="connsiteX4" fmla="*/ 0 w 488635"/>
                <a:gd name="connsiteY4" fmla="*/ 494905 h 494904"/>
                <a:gd name="connsiteX5" fmla="*/ 131716 w 488635"/>
                <a:gd name="connsiteY5" fmla="*/ 494882 h 494904"/>
                <a:gd name="connsiteX6" fmla="*/ 131079 w 488635"/>
                <a:gd name="connsiteY6" fmla="*/ 199514 h 494904"/>
                <a:gd name="connsiteX7" fmla="*/ 352164 w 488635"/>
                <a:gd name="connsiteY7" fmla="*/ 494882 h 494904"/>
                <a:gd name="connsiteX8" fmla="*/ 488636 w 488635"/>
                <a:gd name="connsiteY8" fmla="*/ 494882 h 494904"/>
                <a:gd name="connsiteX9" fmla="*/ 487942 w 488635"/>
                <a:gd name="connsiteY9" fmla="*/ 0 h 494904"/>
                <a:gd name="connsiteX10" fmla="*/ 370152 w 488635"/>
                <a:gd name="connsiteY10" fmla="*/ 0 h 494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635" h="494904">
                  <a:moveTo>
                    <a:pt x="370163" y="11"/>
                  </a:moveTo>
                  <a:lnTo>
                    <a:pt x="370163" y="313424"/>
                  </a:lnTo>
                  <a:cubicBezTo>
                    <a:pt x="303196" y="211824"/>
                    <a:pt x="213121" y="101634"/>
                    <a:pt x="146142" y="11"/>
                  </a:cubicBezTo>
                  <a:lnTo>
                    <a:pt x="637" y="11"/>
                  </a:lnTo>
                  <a:lnTo>
                    <a:pt x="0" y="494905"/>
                  </a:lnTo>
                  <a:lnTo>
                    <a:pt x="131716" y="494882"/>
                  </a:lnTo>
                  <a:lnTo>
                    <a:pt x="131079" y="199514"/>
                  </a:lnTo>
                  <a:lnTo>
                    <a:pt x="352164" y="494882"/>
                  </a:lnTo>
                  <a:lnTo>
                    <a:pt x="488636" y="494882"/>
                  </a:lnTo>
                  <a:lnTo>
                    <a:pt x="487942" y="0"/>
                  </a:lnTo>
                  <a:lnTo>
                    <a:pt x="370152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1D289FD8-DC76-F0C2-BD93-F469F8063BB2}"/>
                </a:ext>
              </a:extLst>
            </p:cNvPr>
            <p:cNvSpPr/>
            <p:nvPr/>
          </p:nvSpPr>
          <p:spPr bwMode="gray">
            <a:xfrm>
              <a:off x="2085942" y="4799469"/>
              <a:ext cx="31414" cy="124489"/>
            </a:xfrm>
            <a:custGeom>
              <a:avLst/>
              <a:gdLst>
                <a:gd name="connsiteX0" fmla="*/ 0 w 124718"/>
                <a:gd name="connsiteY0" fmla="*/ 0 h 494233"/>
                <a:gd name="connsiteX1" fmla="*/ 124719 w 124718"/>
                <a:gd name="connsiteY1" fmla="*/ 0 h 494233"/>
                <a:gd name="connsiteX2" fmla="*/ 124719 w 124718"/>
                <a:gd name="connsiteY2" fmla="*/ 494233 h 494233"/>
                <a:gd name="connsiteX3" fmla="*/ 0 w 124718"/>
                <a:gd name="connsiteY3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18" h="494233">
                  <a:moveTo>
                    <a:pt x="0" y="0"/>
                  </a:moveTo>
                  <a:lnTo>
                    <a:pt x="124719" y="0"/>
                  </a:lnTo>
                  <a:lnTo>
                    <a:pt x="124719" y="494233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E50A62C1-0BAD-77FC-BD1B-733565974A0D}"/>
                </a:ext>
              </a:extLst>
            </p:cNvPr>
            <p:cNvSpPr/>
            <p:nvPr/>
          </p:nvSpPr>
          <p:spPr bwMode="gray">
            <a:xfrm>
              <a:off x="1580123" y="4799467"/>
              <a:ext cx="126819" cy="124489"/>
            </a:xfrm>
            <a:custGeom>
              <a:avLst/>
              <a:gdLst>
                <a:gd name="connsiteX0" fmla="*/ 387866 w 503483"/>
                <a:gd name="connsiteY0" fmla="*/ 275048 h 494233"/>
                <a:gd name="connsiteX1" fmla="*/ 489899 w 503483"/>
                <a:gd name="connsiteY1" fmla="*/ 173027 h 494233"/>
                <a:gd name="connsiteX2" fmla="*/ 489899 w 503483"/>
                <a:gd name="connsiteY2" fmla="*/ 102032 h 494233"/>
                <a:gd name="connsiteX3" fmla="*/ 387866 w 503483"/>
                <a:gd name="connsiteY3" fmla="*/ 0 h 494233"/>
                <a:gd name="connsiteX4" fmla="*/ 0 w 503483"/>
                <a:gd name="connsiteY4" fmla="*/ 0 h 494233"/>
                <a:gd name="connsiteX5" fmla="*/ 0 w 503483"/>
                <a:gd name="connsiteY5" fmla="*/ 494233 h 494233"/>
                <a:gd name="connsiteX6" fmla="*/ 134458 w 503483"/>
                <a:gd name="connsiteY6" fmla="*/ 493983 h 494233"/>
                <a:gd name="connsiteX7" fmla="*/ 133958 w 503483"/>
                <a:gd name="connsiteY7" fmla="*/ 274832 h 494233"/>
                <a:gd name="connsiteX8" fmla="*/ 198626 w 503483"/>
                <a:gd name="connsiteY8" fmla="*/ 274832 h 494233"/>
                <a:gd name="connsiteX9" fmla="*/ 357989 w 503483"/>
                <a:gd name="connsiteY9" fmla="*/ 494233 h 494233"/>
                <a:gd name="connsiteX10" fmla="*/ 503484 w 503483"/>
                <a:gd name="connsiteY10" fmla="*/ 494006 h 494233"/>
                <a:gd name="connsiteX11" fmla="*/ 345930 w 503483"/>
                <a:gd name="connsiteY11" fmla="*/ 275048 h 494233"/>
                <a:gd name="connsiteX12" fmla="*/ 387878 w 503483"/>
                <a:gd name="connsiteY12" fmla="*/ 275048 h 494233"/>
                <a:gd name="connsiteX13" fmla="*/ 135494 w 503483"/>
                <a:gd name="connsiteY13" fmla="*/ 204577 h 494233"/>
                <a:gd name="connsiteX14" fmla="*/ 135971 w 503483"/>
                <a:gd name="connsiteY14" fmla="*/ 64100 h 494233"/>
                <a:gd name="connsiteX15" fmla="*/ 315905 w 503483"/>
                <a:gd name="connsiteY15" fmla="*/ 64100 h 494233"/>
                <a:gd name="connsiteX16" fmla="*/ 366932 w 503483"/>
                <a:gd name="connsiteY16" fmla="*/ 115116 h 494233"/>
                <a:gd name="connsiteX17" fmla="*/ 366932 w 503483"/>
                <a:gd name="connsiteY17" fmla="*/ 153572 h 494233"/>
                <a:gd name="connsiteX18" fmla="*/ 315905 w 503483"/>
                <a:gd name="connsiteY18" fmla="*/ 204588 h 494233"/>
                <a:gd name="connsiteX19" fmla="*/ 135482 w 503483"/>
                <a:gd name="connsiteY19" fmla="*/ 204588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3483" h="494233">
                  <a:moveTo>
                    <a:pt x="387866" y="275048"/>
                  </a:moveTo>
                  <a:cubicBezTo>
                    <a:pt x="444196" y="275048"/>
                    <a:pt x="489899" y="229379"/>
                    <a:pt x="489899" y="173027"/>
                  </a:cubicBezTo>
                  <a:lnTo>
                    <a:pt x="489899" y="102032"/>
                  </a:lnTo>
                  <a:cubicBezTo>
                    <a:pt x="489899" y="45680"/>
                    <a:pt x="444207" y="0"/>
                    <a:pt x="387866" y="0"/>
                  </a:cubicBezTo>
                  <a:lnTo>
                    <a:pt x="0" y="0"/>
                  </a:lnTo>
                  <a:lnTo>
                    <a:pt x="0" y="494233"/>
                  </a:lnTo>
                  <a:lnTo>
                    <a:pt x="134458" y="493983"/>
                  </a:lnTo>
                  <a:lnTo>
                    <a:pt x="133958" y="274832"/>
                  </a:lnTo>
                  <a:lnTo>
                    <a:pt x="198626" y="274832"/>
                  </a:lnTo>
                  <a:lnTo>
                    <a:pt x="357989" y="494233"/>
                  </a:lnTo>
                  <a:lnTo>
                    <a:pt x="503484" y="494006"/>
                  </a:lnTo>
                  <a:lnTo>
                    <a:pt x="345930" y="275048"/>
                  </a:lnTo>
                  <a:lnTo>
                    <a:pt x="387878" y="275048"/>
                  </a:lnTo>
                  <a:close/>
                  <a:moveTo>
                    <a:pt x="135494" y="204577"/>
                  </a:moveTo>
                  <a:lnTo>
                    <a:pt x="135971" y="64100"/>
                  </a:lnTo>
                  <a:lnTo>
                    <a:pt x="315905" y="64100"/>
                  </a:lnTo>
                  <a:cubicBezTo>
                    <a:pt x="344064" y="64100"/>
                    <a:pt x="366932" y="86946"/>
                    <a:pt x="366932" y="115116"/>
                  </a:cubicBezTo>
                  <a:lnTo>
                    <a:pt x="366932" y="153572"/>
                  </a:lnTo>
                  <a:cubicBezTo>
                    <a:pt x="366932" y="181742"/>
                    <a:pt x="344075" y="204588"/>
                    <a:pt x="315905" y="204588"/>
                  </a:cubicBezTo>
                  <a:lnTo>
                    <a:pt x="135482" y="204588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B3F7C0EE-112E-8765-D2CF-CBE23039FD8A}"/>
                </a:ext>
              </a:extLst>
            </p:cNvPr>
            <p:cNvSpPr/>
            <p:nvPr/>
          </p:nvSpPr>
          <p:spPr bwMode="gray">
            <a:xfrm>
              <a:off x="2137440" y="4799243"/>
              <a:ext cx="124652" cy="124649"/>
            </a:xfrm>
            <a:custGeom>
              <a:avLst/>
              <a:gdLst>
                <a:gd name="connsiteX0" fmla="*/ 392861 w 494881"/>
                <a:gd name="connsiteY0" fmla="*/ 0 h 494870"/>
                <a:gd name="connsiteX1" fmla="*/ 102021 w 494881"/>
                <a:gd name="connsiteY1" fmla="*/ 0 h 494870"/>
                <a:gd name="connsiteX2" fmla="*/ 0 w 494881"/>
                <a:gd name="connsiteY2" fmla="*/ 102021 h 494870"/>
                <a:gd name="connsiteX3" fmla="*/ 0 w 494881"/>
                <a:gd name="connsiteY3" fmla="*/ 392850 h 494870"/>
                <a:gd name="connsiteX4" fmla="*/ 102021 w 494881"/>
                <a:gd name="connsiteY4" fmla="*/ 494871 h 494870"/>
                <a:gd name="connsiteX5" fmla="*/ 392861 w 494881"/>
                <a:gd name="connsiteY5" fmla="*/ 494871 h 494870"/>
                <a:gd name="connsiteX6" fmla="*/ 494882 w 494881"/>
                <a:gd name="connsiteY6" fmla="*/ 392850 h 494870"/>
                <a:gd name="connsiteX7" fmla="*/ 494882 w 494881"/>
                <a:gd name="connsiteY7" fmla="*/ 102032 h 494870"/>
                <a:gd name="connsiteX8" fmla="*/ 392861 w 494881"/>
                <a:gd name="connsiteY8" fmla="*/ 0 h 494870"/>
                <a:gd name="connsiteX9" fmla="*/ 368912 w 494881"/>
                <a:gd name="connsiteY9" fmla="*/ 371892 h 494870"/>
                <a:gd name="connsiteX10" fmla="*/ 317907 w 494881"/>
                <a:gd name="connsiteY10" fmla="*/ 422920 h 494870"/>
                <a:gd name="connsiteX11" fmla="*/ 176975 w 494881"/>
                <a:gd name="connsiteY11" fmla="*/ 422920 h 494870"/>
                <a:gd name="connsiteX12" fmla="*/ 125947 w 494881"/>
                <a:gd name="connsiteY12" fmla="*/ 371892 h 494870"/>
                <a:gd name="connsiteX13" fmla="*/ 125947 w 494881"/>
                <a:gd name="connsiteY13" fmla="*/ 123001 h 494870"/>
                <a:gd name="connsiteX14" fmla="*/ 176975 w 494881"/>
                <a:gd name="connsiteY14" fmla="*/ 71985 h 494870"/>
                <a:gd name="connsiteX15" fmla="*/ 317907 w 494881"/>
                <a:gd name="connsiteY15" fmla="*/ 71985 h 494870"/>
                <a:gd name="connsiteX16" fmla="*/ 368912 w 494881"/>
                <a:gd name="connsiteY16" fmla="*/ 123012 h 494870"/>
                <a:gd name="connsiteX17" fmla="*/ 368912 w 494881"/>
                <a:gd name="connsiteY17" fmla="*/ 371892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4881" h="494870">
                  <a:moveTo>
                    <a:pt x="392861" y="0"/>
                  </a:moveTo>
                  <a:lnTo>
                    <a:pt x="102021" y="0"/>
                  </a:lnTo>
                  <a:cubicBezTo>
                    <a:pt x="45669" y="0"/>
                    <a:pt x="-12" y="45669"/>
                    <a:pt x="0" y="102021"/>
                  </a:cubicBezTo>
                  <a:lnTo>
                    <a:pt x="0" y="392850"/>
                  </a:lnTo>
                  <a:cubicBezTo>
                    <a:pt x="0" y="449213"/>
                    <a:pt x="45669" y="494871"/>
                    <a:pt x="102021" y="494871"/>
                  </a:cubicBezTo>
                  <a:lnTo>
                    <a:pt x="392861" y="494871"/>
                  </a:lnTo>
                  <a:cubicBezTo>
                    <a:pt x="449202" y="494871"/>
                    <a:pt x="494882" y="449213"/>
                    <a:pt x="494882" y="392850"/>
                  </a:cubicBezTo>
                  <a:lnTo>
                    <a:pt x="494882" y="102032"/>
                  </a:lnTo>
                  <a:cubicBezTo>
                    <a:pt x="494882" y="45680"/>
                    <a:pt x="449213" y="0"/>
                    <a:pt x="392861" y="0"/>
                  </a:cubicBezTo>
                  <a:close/>
                  <a:moveTo>
                    <a:pt x="368912" y="371892"/>
                  </a:moveTo>
                  <a:cubicBezTo>
                    <a:pt x="368912" y="400063"/>
                    <a:pt x="346077" y="422920"/>
                    <a:pt x="317907" y="422920"/>
                  </a:cubicBezTo>
                  <a:lnTo>
                    <a:pt x="176975" y="422920"/>
                  </a:lnTo>
                  <a:cubicBezTo>
                    <a:pt x="148805" y="422920"/>
                    <a:pt x="125947" y="400063"/>
                    <a:pt x="125947" y="371892"/>
                  </a:cubicBezTo>
                  <a:lnTo>
                    <a:pt x="125947" y="123001"/>
                  </a:lnTo>
                  <a:cubicBezTo>
                    <a:pt x="125947" y="94830"/>
                    <a:pt x="148805" y="71985"/>
                    <a:pt x="176975" y="71985"/>
                  </a:cubicBezTo>
                  <a:lnTo>
                    <a:pt x="317907" y="71985"/>
                  </a:lnTo>
                  <a:cubicBezTo>
                    <a:pt x="346077" y="71985"/>
                    <a:pt x="368912" y="94830"/>
                    <a:pt x="368912" y="123012"/>
                  </a:cubicBezTo>
                  <a:lnTo>
                    <a:pt x="368912" y="371892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D6751A07-2A0E-36A3-3B79-D445EB7A364D}"/>
                </a:ext>
              </a:extLst>
            </p:cNvPr>
            <p:cNvSpPr/>
            <p:nvPr/>
          </p:nvSpPr>
          <p:spPr bwMode="gray">
            <a:xfrm>
              <a:off x="2409957" y="4799243"/>
              <a:ext cx="146644" cy="124471"/>
            </a:xfrm>
            <a:custGeom>
              <a:avLst/>
              <a:gdLst>
                <a:gd name="connsiteX0" fmla="*/ 232781 w 582191"/>
                <a:gd name="connsiteY0" fmla="*/ 0 h 494165"/>
                <a:gd name="connsiteX1" fmla="*/ 0 w 582191"/>
                <a:gd name="connsiteY1" fmla="*/ 494165 h 494165"/>
                <a:gd name="connsiteX2" fmla="*/ 138622 w 582191"/>
                <a:gd name="connsiteY2" fmla="*/ 494142 h 494165"/>
                <a:gd name="connsiteX3" fmla="*/ 184109 w 582191"/>
                <a:gd name="connsiteY3" fmla="*/ 392576 h 494165"/>
                <a:gd name="connsiteX4" fmla="*/ 397844 w 582191"/>
                <a:gd name="connsiteY4" fmla="*/ 392576 h 494165"/>
                <a:gd name="connsiteX5" fmla="*/ 443024 w 582191"/>
                <a:gd name="connsiteY5" fmla="*/ 494029 h 494165"/>
                <a:gd name="connsiteX6" fmla="*/ 582192 w 582191"/>
                <a:gd name="connsiteY6" fmla="*/ 494029 h 494165"/>
                <a:gd name="connsiteX7" fmla="*/ 349411 w 582191"/>
                <a:gd name="connsiteY7" fmla="*/ 0 h 494165"/>
                <a:gd name="connsiteX8" fmla="*/ 232770 w 582191"/>
                <a:gd name="connsiteY8" fmla="*/ 0 h 494165"/>
                <a:gd name="connsiteX9" fmla="*/ 216091 w 582191"/>
                <a:gd name="connsiteY9" fmla="*/ 319966 h 494165"/>
                <a:gd name="connsiteX10" fmla="*/ 290954 w 582191"/>
                <a:gd name="connsiteY10" fmla="*/ 152616 h 494165"/>
                <a:gd name="connsiteX11" fmla="*/ 365498 w 582191"/>
                <a:gd name="connsiteY11" fmla="*/ 319852 h 494165"/>
                <a:gd name="connsiteX12" fmla="*/ 216091 w 582191"/>
                <a:gd name="connsiteY12" fmla="*/ 319966 h 494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2191" h="494165">
                  <a:moveTo>
                    <a:pt x="232781" y="0"/>
                  </a:moveTo>
                  <a:lnTo>
                    <a:pt x="0" y="494165"/>
                  </a:lnTo>
                  <a:lnTo>
                    <a:pt x="138622" y="494142"/>
                  </a:lnTo>
                  <a:lnTo>
                    <a:pt x="184109" y="392576"/>
                  </a:lnTo>
                  <a:lnTo>
                    <a:pt x="397844" y="392576"/>
                  </a:lnTo>
                  <a:lnTo>
                    <a:pt x="443024" y="494029"/>
                  </a:lnTo>
                  <a:lnTo>
                    <a:pt x="582192" y="494029"/>
                  </a:lnTo>
                  <a:lnTo>
                    <a:pt x="349411" y="0"/>
                  </a:lnTo>
                  <a:lnTo>
                    <a:pt x="232770" y="0"/>
                  </a:lnTo>
                  <a:close/>
                  <a:moveTo>
                    <a:pt x="216091" y="319966"/>
                  </a:moveTo>
                  <a:lnTo>
                    <a:pt x="290954" y="152616"/>
                  </a:lnTo>
                  <a:lnTo>
                    <a:pt x="365498" y="319852"/>
                  </a:lnTo>
                  <a:lnTo>
                    <a:pt x="216091" y="319966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2524ADC5-F7D6-B95F-7923-0AECBA542447}"/>
                </a:ext>
              </a:extLst>
            </p:cNvPr>
            <p:cNvSpPr/>
            <p:nvPr/>
          </p:nvSpPr>
          <p:spPr bwMode="gray">
            <a:xfrm>
              <a:off x="1845992" y="4799243"/>
              <a:ext cx="146647" cy="124471"/>
            </a:xfrm>
            <a:custGeom>
              <a:avLst/>
              <a:gdLst>
                <a:gd name="connsiteX0" fmla="*/ 232781 w 582202"/>
                <a:gd name="connsiteY0" fmla="*/ 0 h 494165"/>
                <a:gd name="connsiteX1" fmla="*/ 0 w 582202"/>
                <a:gd name="connsiteY1" fmla="*/ 494165 h 494165"/>
                <a:gd name="connsiteX2" fmla="*/ 138622 w 582202"/>
                <a:gd name="connsiteY2" fmla="*/ 494142 h 494165"/>
                <a:gd name="connsiteX3" fmla="*/ 184131 w 582202"/>
                <a:gd name="connsiteY3" fmla="*/ 392576 h 494165"/>
                <a:gd name="connsiteX4" fmla="*/ 397833 w 582202"/>
                <a:gd name="connsiteY4" fmla="*/ 392576 h 494165"/>
                <a:gd name="connsiteX5" fmla="*/ 443012 w 582202"/>
                <a:gd name="connsiteY5" fmla="*/ 494029 h 494165"/>
                <a:gd name="connsiteX6" fmla="*/ 582203 w 582202"/>
                <a:gd name="connsiteY6" fmla="*/ 494029 h 494165"/>
                <a:gd name="connsiteX7" fmla="*/ 349399 w 582202"/>
                <a:gd name="connsiteY7" fmla="*/ 0 h 494165"/>
                <a:gd name="connsiteX8" fmla="*/ 232770 w 582202"/>
                <a:gd name="connsiteY8" fmla="*/ 0 h 494165"/>
                <a:gd name="connsiteX9" fmla="*/ 216090 w 582202"/>
                <a:gd name="connsiteY9" fmla="*/ 319966 h 494165"/>
                <a:gd name="connsiteX10" fmla="*/ 290942 w 582202"/>
                <a:gd name="connsiteY10" fmla="*/ 152616 h 494165"/>
                <a:gd name="connsiteX11" fmla="*/ 365487 w 582202"/>
                <a:gd name="connsiteY11" fmla="*/ 319852 h 494165"/>
                <a:gd name="connsiteX12" fmla="*/ 216090 w 582202"/>
                <a:gd name="connsiteY12" fmla="*/ 319966 h 494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2202" h="494165">
                  <a:moveTo>
                    <a:pt x="232781" y="0"/>
                  </a:moveTo>
                  <a:lnTo>
                    <a:pt x="0" y="494165"/>
                  </a:lnTo>
                  <a:lnTo>
                    <a:pt x="138622" y="494142"/>
                  </a:lnTo>
                  <a:lnTo>
                    <a:pt x="184131" y="392576"/>
                  </a:lnTo>
                  <a:lnTo>
                    <a:pt x="397833" y="392576"/>
                  </a:lnTo>
                  <a:lnTo>
                    <a:pt x="443012" y="494029"/>
                  </a:lnTo>
                  <a:lnTo>
                    <a:pt x="582203" y="494029"/>
                  </a:lnTo>
                  <a:lnTo>
                    <a:pt x="349399" y="0"/>
                  </a:lnTo>
                  <a:lnTo>
                    <a:pt x="232770" y="0"/>
                  </a:lnTo>
                  <a:close/>
                  <a:moveTo>
                    <a:pt x="216090" y="319966"/>
                  </a:moveTo>
                  <a:lnTo>
                    <a:pt x="290942" y="152616"/>
                  </a:lnTo>
                  <a:lnTo>
                    <a:pt x="365487" y="319852"/>
                  </a:lnTo>
                  <a:lnTo>
                    <a:pt x="216090" y="319966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35" name="Textfeld 34">
            <a:extLst>
              <a:ext uri="{FF2B5EF4-FFF2-40B4-BE49-F238E27FC236}">
                <a16:creationId xmlns:a16="http://schemas.microsoft.com/office/drawing/2014/main" id="{31CE9882-513C-A6B9-9496-260506269333}"/>
              </a:ext>
            </a:extLst>
          </p:cNvPr>
          <p:cNvSpPr txBox="1"/>
          <p:nvPr userDrawn="1"/>
        </p:nvSpPr>
        <p:spPr bwMode="gray">
          <a:xfrm>
            <a:off x="576263" y="4910907"/>
            <a:ext cx="6476538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de-DE" sz="600">
                <a:solidFill>
                  <a:schemeClr val="accent1"/>
                </a:solidFill>
                <a:latin typeface="Arial" panose="020B0604020202020204" pitchFamily="34" charset="0"/>
              </a:rPr>
              <a:t>All rights reserved, also regarding any disposal, exploitation, reproduction, editing, distribution, as well as in the event of applications for industrial property rights.</a:t>
            </a:r>
            <a:endParaRPr lang="de-DE" sz="6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1B3C25A5-78DD-8509-F21E-496513085BC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121138" y="4910907"/>
            <a:ext cx="0" cy="232593"/>
          </a:xfrm>
          <a:prstGeom prst="line">
            <a:avLst/>
          </a:prstGeom>
          <a:ln w="9525">
            <a:solidFill>
              <a:srgbClr val="E200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816DDBDC-261A-AC46-341F-8EC97935E1F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195836" y="4910907"/>
            <a:ext cx="1232710" cy="9233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© 2023 HYDAC International GmbH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AF387669-EBFD-515B-16D2-189E3941BA1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76263" y="4673194"/>
            <a:ext cx="8567737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3D71516-721B-6407-B689-B7616712FFBA}"/>
              </a:ext>
            </a:extLst>
          </p:cNvPr>
          <p:cNvGrpSpPr/>
          <p:nvPr userDrawn="1"/>
        </p:nvGrpSpPr>
        <p:grpSpPr bwMode="gray">
          <a:xfrm>
            <a:off x="1008000" y="615279"/>
            <a:ext cx="1249243" cy="293796"/>
            <a:chOff x="358775" y="4774973"/>
            <a:chExt cx="735172" cy="172897"/>
          </a:xfrm>
        </p:grpSpPr>
        <p:sp>
          <p:nvSpPr>
            <p:cNvPr id="40" name="Freihandform: Form 7">
              <a:extLst>
                <a:ext uri="{FF2B5EF4-FFF2-40B4-BE49-F238E27FC236}">
                  <a16:creationId xmlns:a16="http://schemas.microsoft.com/office/drawing/2014/main" id="{A4909EEC-66E6-A89E-5968-5B444CC402EB}"/>
                </a:ext>
              </a:extLst>
            </p:cNvPr>
            <p:cNvSpPr/>
            <p:nvPr/>
          </p:nvSpPr>
          <p:spPr bwMode="gray">
            <a:xfrm>
              <a:off x="358775" y="4774973"/>
              <a:ext cx="735172" cy="172897"/>
            </a:xfrm>
            <a:custGeom>
              <a:avLst/>
              <a:gdLst>
                <a:gd name="connsiteX0" fmla="*/ 2575509 w 2918707"/>
                <a:gd name="connsiteY0" fmla="*/ 0 h 686420"/>
                <a:gd name="connsiteX1" fmla="*/ 343221 w 2918707"/>
                <a:gd name="connsiteY1" fmla="*/ 0 h 686420"/>
                <a:gd name="connsiteX2" fmla="*/ 0 w 2918707"/>
                <a:gd name="connsiteY2" fmla="*/ 343210 h 686420"/>
                <a:gd name="connsiteX3" fmla="*/ 343221 w 2918707"/>
                <a:gd name="connsiteY3" fmla="*/ 686420 h 686420"/>
                <a:gd name="connsiteX4" fmla="*/ 2575497 w 2918707"/>
                <a:gd name="connsiteY4" fmla="*/ 686420 h 686420"/>
                <a:gd name="connsiteX5" fmla="*/ 2918708 w 2918707"/>
                <a:gd name="connsiteY5" fmla="*/ 343210 h 686420"/>
                <a:gd name="connsiteX6" fmla="*/ 2575509 w 2918707"/>
                <a:gd name="connsiteY6" fmla="*/ 0 h 686420"/>
                <a:gd name="connsiteX7" fmla="*/ 2575509 w 2918707"/>
                <a:gd name="connsiteY7" fmla="*/ 662107 h 686420"/>
                <a:gd name="connsiteX8" fmla="*/ 343221 w 2918707"/>
                <a:gd name="connsiteY8" fmla="*/ 662107 h 686420"/>
                <a:gd name="connsiteX9" fmla="*/ 24313 w 2918707"/>
                <a:gd name="connsiteY9" fmla="*/ 343210 h 686420"/>
                <a:gd name="connsiteX10" fmla="*/ 343221 w 2918707"/>
                <a:gd name="connsiteY10" fmla="*/ 24325 h 686420"/>
                <a:gd name="connsiteX11" fmla="*/ 2575497 w 2918707"/>
                <a:gd name="connsiteY11" fmla="*/ 24325 h 686420"/>
                <a:gd name="connsiteX12" fmla="*/ 2894394 w 2918707"/>
                <a:gd name="connsiteY12" fmla="*/ 343221 h 686420"/>
                <a:gd name="connsiteX13" fmla="*/ 2575497 w 2918707"/>
                <a:gd name="connsiteY13" fmla="*/ 662118 h 686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18707" h="686420">
                  <a:moveTo>
                    <a:pt x="2575509" y="0"/>
                  </a:moveTo>
                  <a:lnTo>
                    <a:pt x="343221" y="0"/>
                  </a:lnTo>
                  <a:cubicBezTo>
                    <a:pt x="153970" y="0"/>
                    <a:pt x="0" y="153959"/>
                    <a:pt x="0" y="343210"/>
                  </a:cubicBezTo>
                  <a:cubicBezTo>
                    <a:pt x="0" y="532461"/>
                    <a:pt x="153970" y="686420"/>
                    <a:pt x="343221" y="686420"/>
                  </a:cubicBezTo>
                  <a:lnTo>
                    <a:pt x="2575497" y="686420"/>
                  </a:lnTo>
                  <a:cubicBezTo>
                    <a:pt x="2764749" y="686420"/>
                    <a:pt x="2918708" y="532450"/>
                    <a:pt x="2918708" y="343210"/>
                  </a:cubicBezTo>
                  <a:cubicBezTo>
                    <a:pt x="2918708" y="153970"/>
                    <a:pt x="2764749" y="0"/>
                    <a:pt x="2575509" y="0"/>
                  </a:cubicBezTo>
                  <a:close/>
                  <a:moveTo>
                    <a:pt x="2575509" y="662107"/>
                  </a:moveTo>
                  <a:lnTo>
                    <a:pt x="343221" y="662107"/>
                  </a:lnTo>
                  <a:cubicBezTo>
                    <a:pt x="167088" y="662107"/>
                    <a:pt x="24313" y="519332"/>
                    <a:pt x="24313" y="343210"/>
                  </a:cubicBezTo>
                  <a:cubicBezTo>
                    <a:pt x="24313" y="167088"/>
                    <a:pt x="167088" y="24325"/>
                    <a:pt x="343221" y="24325"/>
                  </a:cubicBezTo>
                  <a:lnTo>
                    <a:pt x="2575497" y="24325"/>
                  </a:lnTo>
                  <a:cubicBezTo>
                    <a:pt x="2751619" y="24325"/>
                    <a:pt x="2894394" y="167100"/>
                    <a:pt x="2894394" y="343221"/>
                  </a:cubicBezTo>
                  <a:cubicBezTo>
                    <a:pt x="2894394" y="519343"/>
                    <a:pt x="2751619" y="662118"/>
                    <a:pt x="2575497" y="662118"/>
                  </a:cubicBez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1" name="Freihandform: Form 8">
              <a:extLst>
                <a:ext uri="{FF2B5EF4-FFF2-40B4-BE49-F238E27FC236}">
                  <a16:creationId xmlns:a16="http://schemas.microsoft.com/office/drawing/2014/main" id="{6500E59A-BF02-D30A-0AF7-81462A4B47F2}"/>
                </a:ext>
              </a:extLst>
            </p:cNvPr>
            <p:cNvSpPr/>
            <p:nvPr/>
          </p:nvSpPr>
          <p:spPr bwMode="gray">
            <a:xfrm>
              <a:off x="699090" y="4817610"/>
              <a:ext cx="56596" cy="87635"/>
            </a:xfrm>
            <a:custGeom>
              <a:avLst/>
              <a:gdLst>
                <a:gd name="connsiteX0" fmla="*/ 173960 w 224691"/>
                <a:gd name="connsiteY0" fmla="*/ 347875 h 347920"/>
                <a:gd name="connsiteX1" fmla="*/ 224692 w 224691"/>
                <a:gd name="connsiteY1" fmla="*/ 297132 h 347920"/>
                <a:gd name="connsiteX2" fmla="*/ 224692 w 224691"/>
                <a:gd name="connsiteY2" fmla="*/ 50971 h 347920"/>
                <a:gd name="connsiteX3" fmla="*/ 173960 w 224691"/>
                <a:gd name="connsiteY3" fmla="*/ 239 h 347920"/>
                <a:gd name="connsiteX4" fmla="*/ 166701 w 224691"/>
                <a:gd name="connsiteY4" fmla="*/ 0 h 347920"/>
                <a:gd name="connsiteX5" fmla="*/ 0 w 224691"/>
                <a:gd name="connsiteY5" fmla="*/ 23 h 347920"/>
                <a:gd name="connsiteX6" fmla="*/ 0 w 224691"/>
                <a:gd name="connsiteY6" fmla="*/ 347920 h 347920"/>
                <a:gd name="connsiteX7" fmla="*/ 166701 w 224691"/>
                <a:gd name="connsiteY7" fmla="*/ 347875 h 347920"/>
                <a:gd name="connsiteX8" fmla="*/ 173960 w 224691"/>
                <a:gd name="connsiteY8" fmla="*/ 347875 h 34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691" h="347920">
                  <a:moveTo>
                    <a:pt x="173960" y="347875"/>
                  </a:moveTo>
                  <a:cubicBezTo>
                    <a:pt x="201971" y="347875"/>
                    <a:pt x="224692" y="325154"/>
                    <a:pt x="224692" y="297132"/>
                  </a:cubicBezTo>
                  <a:lnTo>
                    <a:pt x="224692" y="50971"/>
                  </a:lnTo>
                  <a:cubicBezTo>
                    <a:pt x="224692" y="22960"/>
                    <a:pt x="201971" y="239"/>
                    <a:pt x="173960" y="239"/>
                  </a:cubicBezTo>
                  <a:lnTo>
                    <a:pt x="166701" y="0"/>
                  </a:lnTo>
                  <a:lnTo>
                    <a:pt x="0" y="23"/>
                  </a:lnTo>
                  <a:lnTo>
                    <a:pt x="0" y="347920"/>
                  </a:lnTo>
                  <a:lnTo>
                    <a:pt x="166701" y="347875"/>
                  </a:lnTo>
                  <a:lnTo>
                    <a:pt x="173960" y="347875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3" name="Freihandform: Form 9">
              <a:extLst>
                <a:ext uri="{FF2B5EF4-FFF2-40B4-BE49-F238E27FC236}">
                  <a16:creationId xmlns:a16="http://schemas.microsoft.com/office/drawing/2014/main" id="{A99186D6-660A-80BE-0B79-2E58E7D9846F}"/>
                </a:ext>
              </a:extLst>
            </p:cNvPr>
            <p:cNvSpPr/>
            <p:nvPr/>
          </p:nvSpPr>
          <p:spPr bwMode="gray">
            <a:xfrm>
              <a:off x="837295" y="4837696"/>
              <a:ext cx="37533" cy="42046"/>
            </a:xfrm>
            <a:custGeom>
              <a:avLst/>
              <a:gdLst>
                <a:gd name="connsiteX0" fmla="*/ 74658 w 149009"/>
                <a:gd name="connsiteY0" fmla="*/ 0 h 166928"/>
                <a:gd name="connsiteX1" fmla="*/ 0 w 149009"/>
                <a:gd name="connsiteY1" fmla="*/ 166929 h 166928"/>
                <a:gd name="connsiteX2" fmla="*/ 149010 w 149009"/>
                <a:gd name="connsiteY2" fmla="*/ 166804 h 166928"/>
                <a:gd name="connsiteX3" fmla="*/ 74658 w 149009"/>
                <a:gd name="connsiteY3" fmla="*/ 0 h 166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009" h="166928">
                  <a:moveTo>
                    <a:pt x="74658" y="0"/>
                  </a:moveTo>
                  <a:lnTo>
                    <a:pt x="0" y="166929"/>
                  </a:lnTo>
                  <a:lnTo>
                    <a:pt x="149010" y="166804"/>
                  </a:lnTo>
                  <a:lnTo>
                    <a:pt x="74658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4" name="Freihandform: Form 10">
              <a:extLst>
                <a:ext uri="{FF2B5EF4-FFF2-40B4-BE49-F238E27FC236}">
                  <a16:creationId xmlns:a16="http://schemas.microsoft.com/office/drawing/2014/main" id="{4947C2FD-027F-46FE-390D-4C9112F891A8}"/>
                </a:ext>
              </a:extLst>
            </p:cNvPr>
            <p:cNvSpPr/>
            <p:nvPr/>
          </p:nvSpPr>
          <p:spPr bwMode="gray">
            <a:xfrm>
              <a:off x="364902" y="4781100"/>
              <a:ext cx="722923" cy="160646"/>
            </a:xfrm>
            <a:custGeom>
              <a:avLst/>
              <a:gdLst>
                <a:gd name="connsiteX0" fmla="*/ 2551184 w 2870080"/>
                <a:gd name="connsiteY0" fmla="*/ 0 h 637781"/>
                <a:gd name="connsiteX1" fmla="*/ 318897 w 2870080"/>
                <a:gd name="connsiteY1" fmla="*/ 0 h 637781"/>
                <a:gd name="connsiteX2" fmla="*/ 0 w 2870080"/>
                <a:gd name="connsiteY2" fmla="*/ 318885 h 637781"/>
                <a:gd name="connsiteX3" fmla="*/ 318908 w 2870080"/>
                <a:gd name="connsiteY3" fmla="*/ 637782 h 637781"/>
                <a:gd name="connsiteX4" fmla="*/ 2551184 w 2870080"/>
                <a:gd name="connsiteY4" fmla="*/ 637782 h 637781"/>
                <a:gd name="connsiteX5" fmla="*/ 2870081 w 2870080"/>
                <a:gd name="connsiteY5" fmla="*/ 318885 h 637781"/>
                <a:gd name="connsiteX6" fmla="*/ 2551184 w 2870080"/>
                <a:gd name="connsiteY6" fmla="*/ 0 h 637781"/>
                <a:gd name="connsiteX7" fmla="*/ 2696496 w 2870080"/>
                <a:gd name="connsiteY7" fmla="*/ 195771 h 637781"/>
                <a:gd name="connsiteX8" fmla="*/ 2573336 w 2870080"/>
                <a:gd name="connsiteY8" fmla="*/ 195771 h 637781"/>
                <a:gd name="connsiteX9" fmla="*/ 2573336 w 2870080"/>
                <a:gd name="connsiteY9" fmla="*/ 195930 h 637781"/>
                <a:gd name="connsiteX10" fmla="*/ 2573279 w 2870080"/>
                <a:gd name="connsiteY10" fmla="*/ 195782 h 637781"/>
                <a:gd name="connsiteX11" fmla="*/ 2573336 w 2870080"/>
                <a:gd name="connsiteY11" fmla="*/ 195782 h 637781"/>
                <a:gd name="connsiteX12" fmla="*/ 2522604 w 2870080"/>
                <a:gd name="connsiteY12" fmla="*/ 145198 h 637781"/>
                <a:gd name="connsiteX13" fmla="*/ 2515300 w 2870080"/>
                <a:gd name="connsiteY13" fmla="*/ 144959 h 637781"/>
                <a:gd name="connsiteX14" fmla="*/ 2406578 w 2870080"/>
                <a:gd name="connsiteY14" fmla="*/ 144959 h 637781"/>
                <a:gd name="connsiteX15" fmla="*/ 2399489 w 2870080"/>
                <a:gd name="connsiteY15" fmla="*/ 145198 h 637781"/>
                <a:gd name="connsiteX16" fmla="*/ 2348746 w 2870080"/>
                <a:gd name="connsiteY16" fmla="*/ 195441 h 637781"/>
                <a:gd name="connsiteX17" fmla="*/ 2348587 w 2870080"/>
                <a:gd name="connsiteY17" fmla="*/ 202927 h 637781"/>
                <a:gd name="connsiteX18" fmla="*/ 2348587 w 2870080"/>
                <a:gd name="connsiteY18" fmla="*/ 434843 h 637781"/>
                <a:gd name="connsiteX19" fmla="*/ 2348701 w 2870080"/>
                <a:gd name="connsiteY19" fmla="*/ 442079 h 637781"/>
                <a:gd name="connsiteX20" fmla="*/ 2399444 w 2870080"/>
                <a:gd name="connsiteY20" fmla="*/ 492823 h 637781"/>
                <a:gd name="connsiteX21" fmla="*/ 2522593 w 2870080"/>
                <a:gd name="connsiteY21" fmla="*/ 492823 h 637781"/>
                <a:gd name="connsiteX22" fmla="*/ 2573324 w 2870080"/>
                <a:gd name="connsiteY22" fmla="*/ 442205 h 637781"/>
                <a:gd name="connsiteX23" fmla="*/ 2573268 w 2870080"/>
                <a:gd name="connsiteY23" fmla="*/ 442205 h 637781"/>
                <a:gd name="connsiteX24" fmla="*/ 2573324 w 2870080"/>
                <a:gd name="connsiteY24" fmla="*/ 442079 h 637781"/>
                <a:gd name="connsiteX25" fmla="*/ 2573324 w 2870080"/>
                <a:gd name="connsiteY25" fmla="*/ 442205 h 637781"/>
                <a:gd name="connsiteX26" fmla="*/ 2696485 w 2870080"/>
                <a:gd name="connsiteY26" fmla="*/ 442205 h 637781"/>
                <a:gd name="connsiteX27" fmla="*/ 2696485 w 2870080"/>
                <a:gd name="connsiteY27" fmla="*/ 456586 h 637781"/>
                <a:gd name="connsiteX28" fmla="*/ 2696371 w 2870080"/>
                <a:gd name="connsiteY28" fmla="*/ 471160 h 637781"/>
                <a:gd name="connsiteX29" fmla="*/ 2602155 w 2870080"/>
                <a:gd name="connsiteY29" fmla="*/ 565365 h 637781"/>
                <a:gd name="connsiteX30" fmla="*/ 2587762 w 2870080"/>
                <a:gd name="connsiteY30" fmla="*/ 565297 h 637781"/>
                <a:gd name="connsiteX31" fmla="*/ 2334092 w 2870080"/>
                <a:gd name="connsiteY31" fmla="*/ 565297 h 637781"/>
                <a:gd name="connsiteX32" fmla="*/ 2319404 w 2870080"/>
                <a:gd name="connsiteY32" fmla="*/ 565365 h 637781"/>
                <a:gd name="connsiteX33" fmla="*/ 2225177 w 2870080"/>
                <a:gd name="connsiteY33" fmla="*/ 471160 h 637781"/>
                <a:gd name="connsiteX34" fmla="*/ 2225370 w 2870080"/>
                <a:gd name="connsiteY34" fmla="*/ 456586 h 637781"/>
                <a:gd name="connsiteX35" fmla="*/ 2225370 w 2870080"/>
                <a:gd name="connsiteY35" fmla="*/ 167043 h 637781"/>
                <a:gd name="connsiteX36" fmla="*/ 2319597 w 2870080"/>
                <a:gd name="connsiteY36" fmla="*/ 72815 h 637781"/>
                <a:gd name="connsiteX37" fmla="*/ 2334081 w 2870080"/>
                <a:gd name="connsiteY37" fmla="*/ 72485 h 637781"/>
                <a:gd name="connsiteX38" fmla="*/ 2587751 w 2870080"/>
                <a:gd name="connsiteY38" fmla="*/ 72485 h 637781"/>
                <a:gd name="connsiteX39" fmla="*/ 2602143 w 2870080"/>
                <a:gd name="connsiteY39" fmla="*/ 72372 h 637781"/>
                <a:gd name="connsiteX40" fmla="*/ 2696360 w 2870080"/>
                <a:gd name="connsiteY40" fmla="*/ 166599 h 637781"/>
                <a:gd name="connsiteX41" fmla="*/ 2696473 w 2870080"/>
                <a:gd name="connsiteY41" fmla="*/ 181196 h 637781"/>
                <a:gd name="connsiteX42" fmla="*/ 2696473 w 2870080"/>
                <a:gd name="connsiteY42" fmla="*/ 195771 h 637781"/>
                <a:gd name="connsiteX43" fmla="*/ 195748 w 2870080"/>
                <a:gd name="connsiteY43" fmla="*/ 72474 h 637781"/>
                <a:gd name="connsiteX44" fmla="*/ 319022 w 2870080"/>
                <a:gd name="connsiteY44" fmla="*/ 72474 h 637781"/>
                <a:gd name="connsiteX45" fmla="*/ 319022 w 2870080"/>
                <a:gd name="connsiteY45" fmla="*/ 282660 h 637781"/>
                <a:gd name="connsiteX46" fmla="*/ 543884 w 2870080"/>
                <a:gd name="connsiteY46" fmla="*/ 282739 h 637781"/>
                <a:gd name="connsiteX47" fmla="*/ 543884 w 2870080"/>
                <a:gd name="connsiteY47" fmla="*/ 72474 h 637781"/>
                <a:gd name="connsiteX48" fmla="*/ 808272 w 2870080"/>
                <a:gd name="connsiteY48" fmla="*/ 72474 h 637781"/>
                <a:gd name="connsiteX49" fmla="*/ 935255 w 2870080"/>
                <a:gd name="connsiteY49" fmla="*/ 260792 h 637781"/>
                <a:gd name="connsiteX50" fmla="*/ 1061976 w 2870080"/>
                <a:gd name="connsiteY50" fmla="*/ 72474 h 637781"/>
                <a:gd name="connsiteX51" fmla="*/ 1566153 w 2870080"/>
                <a:gd name="connsiteY51" fmla="*/ 72474 h 637781"/>
                <a:gd name="connsiteX52" fmla="*/ 1580591 w 2870080"/>
                <a:gd name="connsiteY52" fmla="*/ 72610 h 637781"/>
                <a:gd name="connsiteX53" fmla="*/ 1674807 w 2870080"/>
                <a:gd name="connsiteY53" fmla="*/ 166827 h 637781"/>
                <a:gd name="connsiteX54" fmla="*/ 1674875 w 2870080"/>
                <a:gd name="connsiteY54" fmla="*/ 181173 h 637781"/>
                <a:gd name="connsiteX55" fmla="*/ 1674875 w 2870080"/>
                <a:gd name="connsiteY55" fmla="*/ 456574 h 637781"/>
                <a:gd name="connsiteX56" fmla="*/ 1674614 w 2870080"/>
                <a:gd name="connsiteY56" fmla="*/ 470955 h 637781"/>
                <a:gd name="connsiteX57" fmla="*/ 1580398 w 2870080"/>
                <a:gd name="connsiteY57" fmla="*/ 565160 h 637781"/>
                <a:gd name="connsiteX58" fmla="*/ 1566165 w 2870080"/>
                <a:gd name="connsiteY58" fmla="*/ 565285 h 637781"/>
                <a:gd name="connsiteX59" fmla="*/ 1203420 w 2870080"/>
                <a:gd name="connsiteY59" fmla="*/ 565285 h 637781"/>
                <a:gd name="connsiteX60" fmla="*/ 1203397 w 2870080"/>
                <a:gd name="connsiteY60" fmla="*/ 80643 h 637781"/>
                <a:gd name="connsiteX61" fmla="*/ 1000447 w 2870080"/>
                <a:gd name="connsiteY61" fmla="*/ 370470 h 637781"/>
                <a:gd name="connsiteX62" fmla="*/ 1000481 w 2870080"/>
                <a:gd name="connsiteY62" fmla="*/ 565285 h 637781"/>
                <a:gd name="connsiteX63" fmla="*/ 870017 w 2870080"/>
                <a:gd name="connsiteY63" fmla="*/ 565285 h 637781"/>
                <a:gd name="connsiteX64" fmla="*/ 870017 w 2870080"/>
                <a:gd name="connsiteY64" fmla="*/ 371210 h 637781"/>
                <a:gd name="connsiteX65" fmla="*/ 666965 w 2870080"/>
                <a:gd name="connsiteY65" fmla="*/ 81382 h 637781"/>
                <a:gd name="connsiteX66" fmla="*/ 667079 w 2870080"/>
                <a:gd name="connsiteY66" fmla="*/ 565285 h 637781"/>
                <a:gd name="connsiteX67" fmla="*/ 543873 w 2870080"/>
                <a:gd name="connsiteY67" fmla="*/ 565285 h 637781"/>
                <a:gd name="connsiteX68" fmla="*/ 543873 w 2870080"/>
                <a:gd name="connsiteY68" fmla="*/ 355099 h 637781"/>
                <a:gd name="connsiteX69" fmla="*/ 319010 w 2870080"/>
                <a:gd name="connsiteY69" fmla="*/ 355099 h 637781"/>
                <a:gd name="connsiteX70" fmla="*/ 319010 w 2870080"/>
                <a:gd name="connsiteY70" fmla="*/ 565274 h 637781"/>
                <a:gd name="connsiteX71" fmla="*/ 195691 w 2870080"/>
                <a:gd name="connsiteY71" fmla="*/ 565274 h 637781"/>
                <a:gd name="connsiteX72" fmla="*/ 195736 w 2870080"/>
                <a:gd name="connsiteY72" fmla="*/ 72451 h 637781"/>
                <a:gd name="connsiteX73" fmla="*/ 2008449 w 2870080"/>
                <a:gd name="connsiteY73" fmla="*/ 72463 h 637781"/>
                <a:gd name="connsiteX74" fmla="*/ 2240639 w 2870080"/>
                <a:gd name="connsiteY74" fmla="*/ 565217 h 637781"/>
                <a:gd name="connsiteX75" fmla="*/ 2101812 w 2870080"/>
                <a:gd name="connsiteY75" fmla="*/ 565217 h 637781"/>
                <a:gd name="connsiteX76" fmla="*/ 2056746 w 2870080"/>
                <a:gd name="connsiteY76" fmla="*/ 464049 h 637781"/>
                <a:gd name="connsiteX77" fmla="*/ 1843579 w 2870080"/>
                <a:gd name="connsiteY77" fmla="*/ 464049 h 637781"/>
                <a:gd name="connsiteX78" fmla="*/ 1798206 w 2870080"/>
                <a:gd name="connsiteY78" fmla="*/ 565342 h 637781"/>
                <a:gd name="connsiteX79" fmla="*/ 1659937 w 2870080"/>
                <a:gd name="connsiteY79" fmla="*/ 565365 h 637781"/>
                <a:gd name="connsiteX80" fmla="*/ 1892126 w 2870080"/>
                <a:gd name="connsiteY80" fmla="*/ 72474 h 637781"/>
                <a:gd name="connsiteX81" fmla="*/ 2008460 w 2870080"/>
                <a:gd name="connsiteY81" fmla="*/ 72474 h 637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2870080" h="637781">
                  <a:moveTo>
                    <a:pt x="2551184" y="0"/>
                  </a:moveTo>
                  <a:lnTo>
                    <a:pt x="318897" y="0"/>
                  </a:lnTo>
                  <a:cubicBezTo>
                    <a:pt x="142763" y="0"/>
                    <a:pt x="0" y="142763"/>
                    <a:pt x="0" y="318885"/>
                  </a:cubicBezTo>
                  <a:cubicBezTo>
                    <a:pt x="0" y="495007"/>
                    <a:pt x="142775" y="637782"/>
                    <a:pt x="318908" y="637782"/>
                  </a:cubicBezTo>
                  <a:lnTo>
                    <a:pt x="2551184" y="637782"/>
                  </a:lnTo>
                  <a:cubicBezTo>
                    <a:pt x="2727306" y="637782"/>
                    <a:pt x="2870081" y="495007"/>
                    <a:pt x="2870081" y="318885"/>
                  </a:cubicBezTo>
                  <a:cubicBezTo>
                    <a:pt x="2870081" y="142763"/>
                    <a:pt x="2727306" y="0"/>
                    <a:pt x="2551184" y="0"/>
                  </a:cubicBezTo>
                  <a:close/>
                  <a:moveTo>
                    <a:pt x="2696496" y="195771"/>
                  </a:moveTo>
                  <a:lnTo>
                    <a:pt x="2573336" y="195771"/>
                  </a:lnTo>
                  <a:cubicBezTo>
                    <a:pt x="2573336" y="195827"/>
                    <a:pt x="2573336" y="195873"/>
                    <a:pt x="2573336" y="195930"/>
                  </a:cubicBezTo>
                  <a:lnTo>
                    <a:pt x="2573279" y="195782"/>
                  </a:lnTo>
                  <a:lnTo>
                    <a:pt x="2573336" y="195782"/>
                  </a:lnTo>
                  <a:cubicBezTo>
                    <a:pt x="2573256" y="167839"/>
                    <a:pt x="2550570" y="145198"/>
                    <a:pt x="2522604" y="145198"/>
                  </a:cubicBezTo>
                  <a:lnTo>
                    <a:pt x="2515300" y="144959"/>
                  </a:lnTo>
                  <a:lnTo>
                    <a:pt x="2406578" y="144959"/>
                  </a:lnTo>
                  <a:lnTo>
                    <a:pt x="2399489" y="145198"/>
                  </a:lnTo>
                  <a:cubicBezTo>
                    <a:pt x="2371478" y="145198"/>
                    <a:pt x="2348746" y="167430"/>
                    <a:pt x="2348746" y="195441"/>
                  </a:cubicBezTo>
                  <a:lnTo>
                    <a:pt x="2348587" y="202927"/>
                  </a:lnTo>
                  <a:lnTo>
                    <a:pt x="2348587" y="434843"/>
                  </a:lnTo>
                  <a:lnTo>
                    <a:pt x="2348701" y="442079"/>
                  </a:lnTo>
                  <a:cubicBezTo>
                    <a:pt x="2348701" y="470113"/>
                    <a:pt x="2371410" y="492823"/>
                    <a:pt x="2399444" y="492823"/>
                  </a:cubicBezTo>
                  <a:lnTo>
                    <a:pt x="2522593" y="492823"/>
                  </a:lnTo>
                  <a:cubicBezTo>
                    <a:pt x="2550570" y="492823"/>
                    <a:pt x="2573256" y="470170"/>
                    <a:pt x="2573324" y="442205"/>
                  </a:cubicBezTo>
                  <a:lnTo>
                    <a:pt x="2573268" y="442205"/>
                  </a:lnTo>
                  <a:lnTo>
                    <a:pt x="2573324" y="442079"/>
                  </a:lnTo>
                  <a:cubicBezTo>
                    <a:pt x="2573324" y="442079"/>
                    <a:pt x="2573324" y="442159"/>
                    <a:pt x="2573324" y="442205"/>
                  </a:cubicBezTo>
                  <a:lnTo>
                    <a:pt x="2696485" y="442205"/>
                  </a:lnTo>
                  <a:lnTo>
                    <a:pt x="2696485" y="456586"/>
                  </a:lnTo>
                  <a:lnTo>
                    <a:pt x="2696371" y="471160"/>
                  </a:lnTo>
                  <a:cubicBezTo>
                    <a:pt x="2696371" y="523189"/>
                    <a:pt x="2654183" y="565365"/>
                    <a:pt x="2602155" y="565365"/>
                  </a:cubicBezTo>
                  <a:lnTo>
                    <a:pt x="2587762" y="565297"/>
                  </a:lnTo>
                  <a:lnTo>
                    <a:pt x="2334092" y="565297"/>
                  </a:lnTo>
                  <a:lnTo>
                    <a:pt x="2319404" y="565365"/>
                  </a:lnTo>
                  <a:cubicBezTo>
                    <a:pt x="2267364" y="565365"/>
                    <a:pt x="2225177" y="523189"/>
                    <a:pt x="2225177" y="471160"/>
                  </a:cubicBezTo>
                  <a:lnTo>
                    <a:pt x="2225370" y="456586"/>
                  </a:lnTo>
                  <a:lnTo>
                    <a:pt x="2225370" y="167043"/>
                  </a:lnTo>
                  <a:cubicBezTo>
                    <a:pt x="2225370" y="115003"/>
                    <a:pt x="2267569" y="72815"/>
                    <a:pt x="2319597" y="72815"/>
                  </a:cubicBezTo>
                  <a:lnTo>
                    <a:pt x="2334081" y="72485"/>
                  </a:lnTo>
                  <a:lnTo>
                    <a:pt x="2587751" y="72485"/>
                  </a:lnTo>
                  <a:lnTo>
                    <a:pt x="2602143" y="72372"/>
                  </a:lnTo>
                  <a:cubicBezTo>
                    <a:pt x="2654172" y="72372"/>
                    <a:pt x="2696360" y="114570"/>
                    <a:pt x="2696360" y="166599"/>
                  </a:cubicBezTo>
                  <a:lnTo>
                    <a:pt x="2696473" y="181196"/>
                  </a:lnTo>
                  <a:lnTo>
                    <a:pt x="2696473" y="195771"/>
                  </a:lnTo>
                  <a:close/>
                  <a:moveTo>
                    <a:pt x="195748" y="72474"/>
                  </a:moveTo>
                  <a:lnTo>
                    <a:pt x="319022" y="72474"/>
                  </a:lnTo>
                  <a:lnTo>
                    <a:pt x="319022" y="282660"/>
                  </a:lnTo>
                  <a:lnTo>
                    <a:pt x="543884" y="282739"/>
                  </a:lnTo>
                  <a:lnTo>
                    <a:pt x="543884" y="72474"/>
                  </a:lnTo>
                  <a:lnTo>
                    <a:pt x="808272" y="72474"/>
                  </a:lnTo>
                  <a:lnTo>
                    <a:pt x="935255" y="260792"/>
                  </a:lnTo>
                  <a:lnTo>
                    <a:pt x="1061976" y="72474"/>
                  </a:lnTo>
                  <a:lnTo>
                    <a:pt x="1566153" y="72474"/>
                  </a:lnTo>
                  <a:lnTo>
                    <a:pt x="1580591" y="72610"/>
                  </a:lnTo>
                  <a:cubicBezTo>
                    <a:pt x="1632620" y="72610"/>
                    <a:pt x="1674807" y="114798"/>
                    <a:pt x="1674807" y="166827"/>
                  </a:cubicBezTo>
                  <a:lnTo>
                    <a:pt x="1674875" y="181173"/>
                  </a:lnTo>
                  <a:lnTo>
                    <a:pt x="1674875" y="456574"/>
                  </a:lnTo>
                  <a:lnTo>
                    <a:pt x="1674614" y="470955"/>
                  </a:lnTo>
                  <a:cubicBezTo>
                    <a:pt x="1674614" y="522995"/>
                    <a:pt x="1632427" y="565160"/>
                    <a:pt x="1580398" y="565160"/>
                  </a:cubicBezTo>
                  <a:lnTo>
                    <a:pt x="1566165" y="565285"/>
                  </a:lnTo>
                  <a:lnTo>
                    <a:pt x="1203420" y="565285"/>
                  </a:lnTo>
                  <a:lnTo>
                    <a:pt x="1203397" y="80643"/>
                  </a:lnTo>
                  <a:lnTo>
                    <a:pt x="1000447" y="370470"/>
                  </a:lnTo>
                  <a:lnTo>
                    <a:pt x="1000481" y="565285"/>
                  </a:lnTo>
                  <a:lnTo>
                    <a:pt x="870017" y="565285"/>
                  </a:lnTo>
                  <a:lnTo>
                    <a:pt x="870017" y="371210"/>
                  </a:lnTo>
                  <a:lnTo>
                    <a:pt x="666965" y="81382"/>
                  </a:lnTo>
                  <a:lnTo>
                    <a:pt x="667079" y="565285"/>
                  </a:lnTo>
                  <a:lnTo>
                    <a:pt x="543873" y="565285"/>
                  </a:lnTo>
                  <a:lnTo>
                    <a:pt x="543873" y="355099"/>
                  </a:lnTo>
                  <a:lnTo>
                    <a:pt x="319010" y="355099"/>
                  </a:lnTo>
                  <a:lnTo>
                    <a:pt x="319010" y="565274"/>
                  </a:lnTo>
                  <a:lnTo>
                    <a:pt x="195691" y="565274"/>
                  </a:lnTo>
                  <a:lnTo>
                    <a:pt x="195736" y="72451"/>
                  </a:lnTo>
                  <a:close/>
                  <a:moveTo>
                    <a:pt x="2008449" y="72463"/>
                  </a:moveTo>
                  <a:lnTo>
                    <a:pt x="2240639" y="565217"/>
                  </a:lnTo>
                  <a:lnTo>
                    <a:pt x="2101812" y="565217"/>
                  </a:lnTo>
                  <a:lnTo>
                    <a:pt x="2056746" y="464049"/>
                  </a:lnTo>
                  <a:lnTo>
                    <a:pt x="1843579" y="464049"/>
                  </a:lnTo>
                  <a:lnTo>
                    <a:pt x="1798206" y="565342"/>
                  </a:lnTo>
                  <a:lnTo>
                    <a:pt x="1659937" y="565365"/>
                  </a:lnTo>
                  <a:lnTo>
                    <a:pt x="1892126" y="72474"/>
                  </a:lnTo>
                  <a:lnTo>
                    <a:pt x="2008460" y="72474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5" name="Freihandform: Form 11">
              <a:extLst>
                <a:ext uri="{FF2B5EF4-FFF2-40B4-BE49-F238E27FC236}">
                  <a16:creationId xmlns:a16="http://schemas.microsoft.com/office/drawing/2014/main" id="{BCA4AA92-B4BA-34E7-D682-0A3ACCFE9DFE}"/>
                </a:ext>
              </a:extLst>
            </p:cNvPr>
            <p:cNvSpPr/>
            <p:nvPr/>
          </p:nvSpPr>
          <p:spPr bwMode="gray">
            <a:xfrm>
              <a:off x="414202" y="4799355"/>
              <a:ext cx="372578" cy="124136"/>
            </a:xfrm>
            <a:custGeom>
              <a:avLst/>
              <a:gdLst>
                <a:gd name="connsiteX0" fmla="*/ 123308 w 1479173"/>
                <a:gd name="connsiteY0" fmla="*/ 282648 h 492833"/>
                <a:gd name="connsiteX1" fmla="*/ 348171 w 1479173"/>
                <a:gd name="connsiteY1" fmla="*/ 282648 h 492833"/>
                <a:gd name="connsiteX2" fmla="*/ 348171 w 1479173"/>
                <a:gd name="connsiteY2" fmla="*/ 492834 h 492833"/>
                <a:gd name="connsiteX3" fmla="*/ 471376 w 1479173"/>
                <a:gd name="connsiteY3" fmla="*/ 492834 h 492833"/>
                <a:gd name="connsiteX4" fmla="*/ 471262 w 1479173"/>
                <a:gd name="connsiteY4" fmla="*/ 8931 h 492833"/>
                <a:gd name="connsiteX5" fmla="*/ 674315 w 1479173"/>
                <a:gd name="connsiteY5" fmla="*/ 298759 h 492833"/>
                <a:gd name="connsiteX6" fmla="*/ 674315 w 1479173"/>
                <a:gd name="connsiteY6" fmla="*/ 492834 h 492833"/>
                <a:gd name="connsiteX7" fmla="*/ 804779 w 1479173"/>
                <a:gd name="connsiteY7" fmla="*/ 492834 h 492833"/>
                <a:gd name="connsiteX8" fmla="*/ 804745 w 1479173"/>
                <a:gd name="connsiteY8" fmla="*/ 298019 h 492833"/>
                <a:gd name="connsiteX9" fmla="*/ 1007695 w 1479173"/>
                <a:gd name="connsiteY9" fmla="*/ 8192 h 492833"/>
                <a:gd name="connsiteX10" fmla="*/ 1007717 w 1479173"/>
                <a:gd name="connsiteY10" fmla="*/ 492834 h 492833"/>
                <a:gd name="connsiteX11" fmla="*/ 1370462 w 1479173"/>
                <a:gd name="connsiteY11" fmla="*/ 492834 h 492833"/>
                <a:gd name="connsiteX12" fmla="*/ 1384695 w 1479173"/>
                <a:gd name="connsiteY12" fmla="*/ 492709 h 492833"/>
                <a:gd name="connsiteX13" fmla="*/ 1478912 w 1479173"/>
                <a:gd name="connsiteY13" fmla="*/ 398504 h 492833"/>
                <a:gd name="connsiteX14" fmla="*/ 1479173 w 1479173"/>
                <a:gd name="connsiteY14" fmla="*/ 384123 h 492833"/>
                <a:gd name="connsiteX15" fmla="*/ 1479173 w 1479173"/>
                <a:gd name="connsiteY15" fmla="*/ 108711 h 492833"/>
                <a:gd name="connsiteX16" fmla="*/ 1479105 w 1479173"/>
                <a:gd name="connsiteY16" fmla="*/ 94364 h 492833"/>
                <a:gd name="connsiteX17" fmla="*/ 1384889 w 1479173"/>
                <a:gd name="connsiteY17" fmla="*/ 148 h 492833"/>
                <a:gd name="connsiteX18" fmla="*/ 1370451 w 1479173"/>
                <a:gd name="connsiteY18" fmla="*/ 11 h 492833"/>
                <a:gd name="connsiteX19" fmla="*/ 866274 w 1479173"/>
                <a:gd name="connsiteY19" fmla="*/ 11 h 492833"/>
                <a:gd name="connsiteX20" fmla="*/ 739552 w 1479173"/>
                <a:gd name="connsiteY20" fmla="*/ 188330 h 492833"/>
                <a:gd name="connsiteX21" fmla="*/ 612570 w 1479173"/>
                <a:gd name="connsiteY21" fmla="*/ 11 h 492833"/>
                <a:gd name="connsiteX22" fmla="*/ 348182 w 1479173"/>
                <a:gd name="connsiteY22" fmla="*/ 11 h 492833"/>
                <a:gd name="connsiteX23" fmla="*/ 348182 w 1479173"/>
                <a:gd name="connsiteY23" fmla="*/ 210277 h 492833"/>
                <a:gd name="connsiteX24" fmla="*/ 123319 w 1479173"/>
                <a:gd name="connsiteY24" fmla="*/ 210197 h 492833"/>
                <a:gd name="connsiteX25" fmla="*/ 123319 w 1479173"/>
                <a:gd name="connsiteY25" fmla="*/ 0 h 492833"/>
                <a:gd name="connsiteX26" fmla="*/ 46 w 1479173"/>
                <a:gd name="connsiteY26" fmla="*/ 0 h 492833"/>
                <a:gd name="connsiteX27" fmla="*/ 0 w 1479173"/>
                <a:gd name="connsiteY27" fmla="*/ 492823 h 492833"/>
                <a:gd name="connsiteX28" fmla="*/ 123319 w 1479173"/>
                <a:gd name="connsiteY28" fmla="*/ 492823 h 492833"/>
                <a:gd name="connsiteX29" fmla="*/ 123319 w 1479173"/>
                <a:gd name="connsiteY29" fmla="*/ 282648 h 492833"/>
                <a:gd name="connsiteX30" fmla="*/ 1131060 w 1479173"/>
                <a:gd name="connsiteY30" fmla="*/ 72497 h 492833"/>
                <a:gd name="connsiteX31" fmla="*/ 1297761 w 1479173"/>
                <a:gd name="connsiteY31" fmla="*/ 72474 h 492833"/>
                <a:gd name="connsiteX32" fmla="*/ 1305020 w 1479173"/>
                <a:gd name="connsiteY32" fmla="*/ 72713 h 492833"/>
                <a:gd name="connsiteX33" fmla="*/ 1355751 w 1479173"/>
                <a:gd name="connsiteY33" fmla="*/ 123445 h 492833"/>
                <a:gd name="connsiteX34" fmla="*/ 1355751 w 1479173"/>
                <a:gd name="connsiteY34" fmla="*/ 369594 h 492833"/>
                <a:gd name="connsiteX35" fmla="*/ 1305020 w 1479173"/>
                <a:gd name="connsiteY35" fmla="*/ 420337 h 492833"/>
                <a:gd name="connsiteX36" fmla="*/ 1297761 w 1479173"/>
                <a:gd name="connsiteY36" fmla="*/ 420337 h 492833"/>
                <a:gd name="connsiteX37" fmla="*/ 1131060 w 1479173"/>
                <a:gd name="connsiteY37" fmla="*/ 420383 h 492833"/>
                <a:gd name="connsiteX38" fmla="*/ 1131060 w 1479173"/>
                <a:gd name="connsiteY38" fmla="*/ 72497 h 49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479173" h="492833">
                  <a:moveTo>
                    <a:pt x="123308" y="282648"/>
                  </a:moveTo>
                  <a:lnTo>
                    <a:pt x="348171" y="282648"/>
                  </a:lnTo>
                  <a:lnTo>
                    <a:pt x="348171" y="492834"/>
                  </a:lnTo>
                  <a:lnTo>
                    <a:pt x="471376" y="492834"/>
                  </a:lnTo>
                  <a:lnTo>
                    <a:pt x="471262" y="8931"/>
                  </a:lnTo>
                  <a:lnTo>
                    <a:pt x="674315" y="298759"/>
                  </a:lnTo>
                  <a:lnTo>
                    <a:pt x="674315" y="492834"/>
                  </a:lnTo>
                  <a:lnTo>
                    <a:pt x="804779" y="492834"/>
                  </a:lnTo>
                  <a:lnTo>
                    <a:pt x="804745" y="298019"/>
                  </a:lnTo>
                  <a:lnTo>
                    <a:pt x="1007695" y="8192"/>
                  </a:lnTo>
                  <a:lnTo>
                    <a:pt x="1007717" y="492834"/>
                  </a:lnTo>
                  <a:lnTo>
                    <a:pt x="1370462" y="492834"/>
                  </a:lnTo>
                  <a:lnTo>
                    <a:pt x="1384695" y="492709"/>
                  </a:lnTo>
                  <a:cubicBezTo>
                    <a:pt x="1436724" y="492709"/>
                    <a:pt x="1478912" y="450533"/>
                    <a:pt x="1478912" y="398504"/>
                  </a:cubicBezTo>
                  <a:lnTo>
                    <a:pt x="1479173" y="384123"/>
                  </a:lnTo>
                  <a:lnTo>
                    <a:pt x="1479173" y="108711"/>
                  </a:lnTo>
                  <a:lnTo>
                    <a:pt x="1479105" y="94364"/>
                  </a:lnTo>
                  <a:cubicBezTo>
                    <a:pt x="1479105" y="42335"/>
                    <a:pt x="1436918" y="148"/>
                    <a:pt x="1384889" y="148"/>
                  </a:cubicBezTo>
                  <a:lnTo>
                    <a:pt x="1370451" y="11"/>
                  </a:lnTo>
                  <a:lnTo>
                    <a:pt x="866274" y="11"/>
                  </a:lnTo>
                  <a:lnTo>
                    <a:pt x="739552" y="188330"/>
                  </a:lnTo>
                  <a:lnTo>
                    <a:pt x="612570" y="11"/>
                  </a:lnTo>
                  <a:lnTo>
                    <a:pt x="348182" y="11"/>
                  </a:lnTo>
                  <a:lnTo>
                    <a:pt x="348182" y="210277"/>
                  </a:lnTo>
                  <a:lnTo>
                    <a:pt x="123319" y="210197"/>
                  </a:lnTo>
                  <a:lnTo>
                    <a:pt x="123319" y="0"/>
                  </a:lnTo>
                  <a:lnTo>
                    <a:pt x="46" y="0"/>
                  </a:lnTo>
                  <a:lnTo>
                    <a:pt x="0" y="492823"/>
                  </a:lnTo>
                  <a:lnTo>
                    <a:pt x="123319" y="492823"/>
                  </a:lnTo>
                  <a:lnTo>
                    <a:pt x="123319" y="282648"/>
                  </a:lnTo>
                  <a:close/>
                  <a:moveTo>
                    <a:pt x="1131060" y="72497"/>
                  </a:moveTo>
                  <a:lnTo>
                    <a:pt x="1297761" y="72474"/>
                  </a:lnTo>
                  <a:lnTo>
                    <a:pt x="1305020" y="72713"/>
                  </a:lnTo>
                  <a:cubicBezTo>
                    <a:pt x="1333031" y="72713"/>
                    <a:pt x="1355751" y="95433"/>
                    <a:pt x="1355751" y="123445"/>
                  </a:cubicBezTo>
                  <a:lnTo>
                    <a:pt x="1355751" y="369594"/>
                  </a:lnTo>
                  <a:cubicBezTo>
                    <a:pt x="1355751" y="397628"/>
                    <a:pt x="1333031" y="420337"/>
                    <a:pt x="1305020" y="420337"/>
                  </a:cubicBezTo>
                  <a:lnTo>
                    <a:pt x="1297761" y="420337"/>
                  </a:lnTo>
                  <a:lnTo>
                    <a:pt x="1131060" y="420383"/>
                  </a:lnTo>
                  <a:lnTo>
                    <a:pt x="1131060" y="72497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6" name="Freihandform: Form 12">
              <a:extLst>
                <a:ext uri="{FF2B5EF4-FFF2-40B4-BE49-F238E27FC236}">
                  <a16:creationId xmlns:a16="http://schemas.microsoft.com/office/drawing/2014/main" id="{4B550E7F-21C8-2F5A-C3F4-981C527E5743}"/>
                </a:ext>
              </a:extLst>
            </p:cNvPr>
            <p:cNvSpPr/>
            <p:nvPr/>
          </p:nvSpPr>
          <p:spPr bwMode="gray">
            <a:xfrm>
              <a:off x="925388" y="4799326"/>
              <a:ext cx="118717" cy="124176"/>
            </a:xfrm>
            <a:custGeom>
              <a:avLst/>
              <a:gdLst>
                <a:gd name="connsiteX0" fmla="*/ 376978 w 471319"/>
                <a:gd name="connsiteY0" fmla="*/ 0 h 492993"/>
                <a:gd name="connsiteX1" fmla="*/ 362586 w 471319"/>
                <a:gd name="connsiteY1" fmla="*/ 114 h 492993"/>
                <a:gd name="connsiteX2" fmla="*/ 108915 w 471319"/>
                <a:gd name="connsiteY2" fmla="*/ 114 h 492993"/>
                <a:gd name="connsiteX3" fmla="*/ 94432 w 471319"/>
                <a:gd name="connsiteY3" fmla="*/ 444 h 492993"/>
                <a:gd name="connsiteX4" fmla="*/ 205 w 471319"/>
                <a:gd name="connsiteY4" fmla="*/ 94671 h 492993"/>
                <a:gd name="connsiteX5" fmla="*/ 205 w 471319"/>
                <a:gd name="connsiteY5" fmla="*/ 384214 h 492993"/>
                <a:gd name="connsiteX6" fmla="*/ 0 w 471319"/>
                <a:gd name="connsiteY6" fmla="*/ 398789 h 492993"/>
                <a:gd name="connsiteX7" fmla="*/ 94227 w 471319"/>
                <a:gd name="connsiteY7" fmla="*/ 492993 h 492993"/>
                <a:gd name="connsiteX8" fmla="*/ 108915 w 471319"/>
                <a:gd name="connsiteY8" fmla="*/ 492925 h 492993"/>
                <a:gd name="connsiteX9" fmla="*/ 362586 w 471319"/>
                <a:gd name="connsiteY9" fmla="*/ 492925 h 492993"/>
                <a:gd name="connsiteX10" fmla="*/ 376978 w 471319"/>
                <a:gd name="connsiteY10" fmla="*/ 492993 h 492993"/>
                <a:gd name="connsiteX11" fmla="*/ 471194 w 471319"/>
                <a:gd name="connsiteY11" fmla="*/ 398789 h 492993"/>
                <a:gd name="connsiteX12" fmla="*/ 471308 w 471319"/>
                <a:gd name="connsiteY12" fmla="*/ 384214 h 492993"/>
                <a:gd name="connsiteX13" fmla="*/ 471308 w 471319"/>
                <a:gd name="connsiteY13" fmla="*/ 369833 h 492993"/>
                <a:gd name="connsiteX14" fmla="*/ 348148 w 471319"/>
                <a:gd name="connsiteY14" fmla="*/ 369833 h 492993"/>
                <a:gd name="connsiteX15" fmla="*/ 297416 w 471319"/>
                <a:gd name="connsiteY15" fmla="*/ 420451 h 492993"/>
                <a:gd name="connsiteX16" fmla="*/ 174267 w 471319"/>
                <a:gd name="connsiteY16" fmla="*/ 420451 h 492993"/>
                <a:gd name="connsiteX17" fmla="*/ 123524 w 471319"/>
                <a:gd name="connsiteY17" fmla="*/ 369708 h 492993"/>
                <a:gd name="connsiteX18" fmla="*/ 123410 w 471319"/>
                <a:gd name="connsiteY18" fmla="*/ 362472 h 492993"/>
                <a:gd name="connsiteX19" fmla="*/ 123410 w 471319"/>
                <a:gd name="connsiteY19" fmla="*/ 130567 h 492993"/>
                <a:gd name="connsiteX20" fmla="*/ 123570 w 471319"/>
                <a:gd name="connsiteY20" fmla="*/ 123080 h 492993"/>
                <a:gd name="connsiteX21" fmla="*/ 174313 w 471319"/>
                <a:gd name="connsiteY21" fmla="*/ 72838 h 492993"/>
                <a:gd name="connsiteX22" fmla="*/ 181401 w 471319"/>
                <a:gd name="connsiteY22" fmla="*/ 72599 h 492993"/>
                <a:gd name="connsiteX23" fmla="*/ 290123 w 471319"/>
                <a:gd name="connsiteY23" fmla="*/ 72599 h 492993"/>
                <a:gd name="connsiteX24" fmla="*/ 297428 w 471319"/>
                <a:gd name="connsiteY24" fmla="*/ 72838 h 492993"/>
                <a:gd name="connsiteX25" fmla="*/ 348159 w 471319"/>
                <a:gd name="connsiteY25" fmla="*/ 123422 h 492993"/>
                <a:gd name="connsiteX26" fmla="*/ 471319 w 471319"/>
                <a:gd name="connsiteY26" fmla="*/ 123422 h 492993"/>
                <a:gd name="connsiteX27" fmla="*/ 471319 w 471319"/>
                <a:gd name="connsiteY27" fmla="*/ 108836 h 492993"/>
                <a:gd name="connsiteX28" fmla="*/ 471206 w 471319"/>
                <a:gd name="connsiteY28" fmla="*/ 94239 h 492993"/>
                <a:gd name="connsiteX29" fmla="*/ 376989 w 471319"/>
                <a:gd name="connsiteY29" fmla="*/ 11 h 492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71319" h="492993">
                  <a:moveTo>
                    <a:pt x="376978" y="0"/>
                  </a:moveTo>
                  <a:lnTo>
                    <a:pt x="362586" y="114"/>
                  </a:lnTo>
                  <a:lnTo>
                    <a:pt x="108915" y="114"/>
                  </a:lnTo>
                  <a:lnTo>
                    <a:pt x="94432" y="444"/>
                  </a:lnTo>
                  <a:cubicBezTo>
                    <a:pt x="42403" y="444"/>
                    <a:pt x="205" y="42631"/>
                    <a:pt x="205" y="94671"/>
                  </a:cubicBezTo>
                  <a:lnTo>
                    <a:pt x="205" y="384214"/>
                  </a:lnTo>
                  <a:lnTo>
                    <a:pt x="0" y="398789"/>
                  </a:lnTo>
                  <a:cubicBezTo>
                    <a:pt x="0" y="450817"/>
                    <a:pt x="42187" y="492993"/>
                    <a:pt x="94227" y="492993"/>
                  </a:cubicBezTo>
                  <a:lnTo>
                    <a:pt x="108915" y="492925"/>
                  </a:lnTo>
                  <a:lnTo>
                    <a:pt x="362586" y="492925"/>
                  </a:lnTo>
                  <a:lnTo>
                    <a:pt x="376978" y="492993"/>
                  </a:lnTo>
                  <a:cubicBezTo>
                    <a:pt x="429007" y="492993"/>
                    <a:pt x="471194" y="450817"/>
                    <a:pt x="471194" y="398789"/>
                  </a:cubicBezTo>
                  <a:lnTo>
                    <a:pt x="471308" y="384214"/>
                  </a:lnTo>
                  <a:lnTo>
                    <a:pt x="471308" y="369833"/>
                  </a:lnTo>
                  <a:lnTo>
                    <a:pt x="348148" y="369833"/>
                  </a:lnTo>
                  <a:cubicBezTo>
                    <a:pt x="348080" y="397810"/>
                    <a:pt x="325393" y="420451"/>
                    <a:pt x="297416" y="420451"/>
                  </a:cubicBezTo>
                  <a:lnTo>
                    <a:pt x="174267" y="420451"/>
                  </a:lnTo>
                  <a:cubicBezTo>
                    <a:pt x="146245" y="420451"/>
                    <a:pt x="123524" y="397742"/>
                    <a:pt x="123524" y="369708"/>
                  </a:cubicBezTo>
                  <a:lnTo>
                    <a:pt x="123410" y="362472"/>
                  </a:lnTo>
                  <a:lnTo>
                    <a:pt x="123410" y="130567"/>
                  </a:lnTo>
                  <a:lnTo>
                    <a:pt x="123570" y="123080"/>
                  </a:lnTo>
                  <a:cubicBezTo>
                    <a:pt x="123570" y="95069"/>
                    <a:pt x="146290" y="72838"/>
                    <a:pt x="174313" y="72838"/>
                  </a:cubicBezTo>
                  <a:lnTo>
                    <a:pt x="181401" y="72599"/>
                  </a:lnTo>
                  <a:lnTo>
                    <a:pt x="290123" y="72599"/>
                  </a:lnTo>
                  <a:lnTo>
                    <a:pt x="297428" y="72838"/>
                  </a:lnTo>
                  <a:cubicBezTo>
                    <a:pt x="325393" y="72838"/>
                    <a:pt x="348068" y="95468"/>
                    <a:pt x="348159" y="123422"/>
                  </a:cubicBezTo>
                  <a:lnTo>
                    <a:pt x="471319" y="123422"/>
                  </a:lnTo>
                  <a:lnTo>
                    <a:pt x="471319" y="108836"/>
                  </a:lnTo>
                  <a:lnTo>
                    <a:pt x="471206" y="94239"/>
                  </a:lnTo>
                  <a:cubicBezTo>
                    <a:pt x="471206" y="42210"/>
                    <a:pt x="429018" y="11"/>
                    <a:pt x="376989" y="11"/>
                  </a:cubicBez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7" name="Freihandform: Form 13">
              <a:extLst>
                <a:ext uri="{FF2B5EF4-FFF2-40B4-BE49-F238E27FC236}">
                  <a16:creationId xmlns:a16="http://schemas.microsoft.com/office/drawing/2014/main" id="{E59255CC-BBF7-FCF5-3251-8C5ADB6D76CE}"/>
                </a:ext>
              </a:extLst>
            </p:cNvPr>
            <p:cNvSpPr/>
            <p:nvPr/>
          </p:nvSpPr>
          <p:spPr bwMode="gray">
            <a:xfrm>
              <a:off x="1013066" y="4892449"/>
              <a:ext cx="14" cy="31"/>
            </a:xfrm>
            <a:custGeom>
              <a:avLst/>
              <a:gdLst>
                <a:gd name="connsiteX0" fmla="*/ 0 w 56"/>
                <a:gd name="connsiteY0" fmla="*/ 125 h 125"/>
                <a:gd name="connsiteX1" fmla="*/ 57 w 56"/>
                <a:gd name="connsiteY1" fmla="*/ 125 h 125"/>
                <a:gd name="connsiteX2" fmla="*/ 57 w 56"/>
                <a:gd name="connsiteY2" fmla="*/ 0 h 125"/>
                <a:gd name="connsiteX3" fmla="*/ 0 w 56"/>
                <a:gd name="connsiteY3" fmla="*/ 125 h 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25">
                  <a:moveTo>
                    <a:pt x="0" y="125"/>
                  </a:moveTo>
                  <a:lnTo>
                    <a:pt x="57" y="125"/>
                  </a:lnTo>
                  <a:cubicBezTo>
                    <a:pt x="57" y="125"/>
                    <a:pt x="57" y="46"/>
                    <a:pt x="57" y="0"/>
                  </a:cubicBezTo>
                  <a:lnTo>
                    <a:pt x="0" y="125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8" name="Freihandform: Form 14">
              <a:extLst>
                <a:ext uri="{FF2B5EF4-FFF2-40B4-BE49-F238E27FC236}">
                  <a16:creationId xmlns:a16="http://schemas.microsoft.com/office/drawing/2014/main" id="{025F9AA9-090B-4709-70D6-747E7D2EDE5E}"/>
                </a:ext>
              </a:extLst>
            </p:cNvPr>
            <p:cNvSpPr/>
            <p:nvPr/>
          </p:nvSpPr>
          <p:spPr bwMode="gray">
            <a:xfrm>
              <a:off x="1013066" y="4830411"/>
              <a:ext cx="14" cy="37"/>
            </a:xfrm>
            <a:custGeom>
              <a:avLst/>
              <a:gdLst>
                <a:gd name="connsiteX0" fmla="*/ 57 w 56"/>
                <a:gd name="connsiteY0" fmla="*/ 148 h 147"/>
                <a:gd name="connsiteX1" fmla="*/ 57 w 56"/>
                <a:gd name="connsiteY1" fmla="*/ 0 h 147"/>
                <a:gd name="connsiteX2" fmla="*/ 0 w 56"/>
                <a:gd name="connsiteY2" fmla="*/ 0 h 147"/>
                <a:gd name="connsiteX3" fmla="*/ 57 w 56"/>
                <a:gd name="connsiteY3" fmla="*/ 148 h 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47">
                  <a:moveTo>
                    <a:pt x="57" y="148"/>
                  </a:moveTo>
                  <a:cubicBezTo>
                    <a:pt x="57" y="148"/>
                    <a:pt x="57" y="46"/>
                    <a:pt x="57" y="0"/>
                  </a:cubicBezTo>
                  <a:lnTo>
                    <a:pt x="0" y="0"/>
                  </a:lnTo>
                  <a:lnTo>
                    <a:pt x="57" y="148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9" name="Freihandform: Form 15">
              <a:extLst>
                <a:ext uri="{FF2B5EF4-FFF2-40B4-BE49-F238E27FC236}">
                  <a16:creationId xmlns:a16="http://schemas.microsoft.com/office/drawing/2014/main" id="{2BBBB58A-35CB-9E40-9C41-54BC23098C30}"/>
                </a:ext>
              </a:extLst>
            </p:cNvPr>
            <p:cNvSpPr/>
            <p:nvPr/>
          </p:nvSpPr>
          <p:spPr bwMode="gray">
            <a:xfrm>
              <a:off x="783005" y="4799352"/>
              <a:ext cx="146271" cy="124150"/>
            </a:xfrm>
            <a:custGeom>
              <a:avLst/>
              <a:gdLst>
                <a:gd name="connsiteX0" fmla="*/ 138281 w 580712"/>
                <a:gd name="connsiteY0" fmla="*/ 492880 h 492890"/>
                <a:gd name="connsiteX1" fmla="*/ 183654 w 580712"/>
                <a:gd name="connsiteY1" fmla="*/ 391587 h 492890"/>
                <a:gd name="connsiteX2" fmla="*/ 396820 w 580712"/>
                <a:gd name="connsiteY2" fmla="*/ 391587 h 492890"/>
                <a:gd name="connsiteX3" fmla="*/ 441886 w 580712"/>
                <a:gd name="connsiteY3" fmla="*/ 492754 h 492890"/>
                <a:gd name="connsiteX4" fmla="*/ 580713 w 580712"/>
                <a:gd name="connsiteY4" fmla="*/ 492754 h 492890"/>
                <a:gd name="connsiteX5" fmla="*/ 348523 w 580712"/>
                <a:gd name="connsiteY5" fmla="*/ 0 h 492890"/>
                <a:gd name="connsiteX6" fmla="*/ 232190 w 580712"/>
                <a:gd name="connsiteY6" fmla="*/ 0 h 492890"/>
                <a:gd name="connsiteX7" fmla="*/ 0 w 580712"/>
                <a:gd name="connsiteY7" fmla="*/ 492891 h 492890"/>
                <a:gd name="connsiteX8" fmla="*/ 138269 w 580712"/>
                <a:gd name="connsiteY8" fmla="*/ 492868 h 492890"/>
                <a:gd name="connsiteX9" fmla="*/ 290192 w 580712"/>
                <a:gd name="connsiteY9" fmla="*/ 152229 h 492890"/>
                <a:gd name="connsiteX10" fmla="*/ 364543 w 580712"/>
                <a:gd name="connsiteY10" fmla="*/ 319033 h 492890"/>
                <a:gd name="connsiteX11" fmla="*/ 215522 w 580712"/>
                <a:gd name="connsiteY11" fmla="*/ 319147 h 492890"/>
                <a:gd name="connsiteX12" fmla="*/ 290180 w 580712"/>
                <a:gd name="connsiteY12" fmla="*/ 152229 h 492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0712" h="492890">
                  <a:moveTo>
                    <a:pt x="138281" y="492880"/>
                  </a:moveTo>
                  <a:lnTo>
                    <a:pt x="183654" y="391587"/>
                  </a:lnTo>
                  <a:lnTo>
                    <a:pt x="396820" y="391587"/>
                  </a:lnTo>
                  <a:lnTo>
                    <a:pt x="441886" y="492754"/>
                  </a:lnTo>
                  <a:lnTo>
                    <a:pt x="580713" y="492754"/>
                  </a:lnTo>
                  <a:lnTo>
                    <a:pt x="348523" y="0"/>
                  </a:lnTo>
                  <a:lnTo>
                    <a:pt x="232190" y="0"/>
                  </a:lnTo>
                  <a:lnTo>
                    <a:pt x="0" y="492891"/>
                  </a:lnTo>
                  <a:lnTo>
                    <a:pt x="138269" y="492868"/>
                  </a:lnTo>
                  <a:close/>
                  <a:moveTo>
                    <a:pt x="290192" y="152229"/>
                  </a:moveTo>
                  <a:lnTo>
                    <a:pt x="364543" y="319033"/>
                  </a:lnTo>
                  <a:lnTo>
                    <a:pt x="215522" y="319147"/>
                  </a:lnTo>
                  <a:lnTo>
                    <a:pt x="290180" y="152229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04942B3E-AF9B-0C87-9B5B-037C7658539A}"/>
              </a:ext>
            </a:extLst>
          </p:cNvPr>
          <p:cNvSpPr txBox="1"/>
          <p:nvPr userDrawn="1"/>
        </p:nvSpPr>
        <p:spPr bwMode="gray">
          <a:xfrm>
            <a:off x="66678" y="4903764"/>
            <a:ext cx="25463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fld id="{32E94CFB-AE89-45BA-9EC0-C30924367499}" type="slidenum">
              <a:rPr lang="de-DE" sz="700" b="1" spc="20" noProof="0" smtClean="0">
                <a:solidFill>
                  <a:srgbClr val="E2001A"/>
                </a:solidFill>
                <a:latin typeface="Arial" panose="020B0604020202020204" pitchFamily="34" charset="0"/>
              </a:rPr>
              <a:t>‹nº›</a:t>
            </a:fld>
            <a:endParaRPr lang="de-DE" sz="700" b="1" spc="20" noProof="0" dirty="0">
              <a:solidFill>
                <a:srgbClr val="E2001A"/>
              </a:solidFill>
              <a:latin typeface="Arial" panose="020B0604020202020204" pitchFamily="34" charset="0"/>
            </a:endParaRP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496DB4A4-A979-B3FC-2D37-F7C701F403F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112000" y="860400"/>
            <a:ext cx="4032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DA434CD5-2E74-93E1-49B0-49E5472408C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325664" y="0"/>
            <a:ext cx="0" cy="874800"/>
          </a:xfrm>
          <a:prstGeom prst="line">
            <a:avLst/>
          </a:prstGeom>
          <a:ln w="9525">
            <a:solidFill>
              <a:srgbClr val="E200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496DB4A4-A979-B3FC-2D37-F7C701F403F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1979815"/>
            <a:ext cx="230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2932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19" userDrawn="1">
          <p15:clr>
            <a:srgbClr val="FBAE40"/>
          </p15:clr>
        </p15:guide>
        <p15:guide id="2" orient="horz" pos="826" userDrawn="1">
          <p15:clr>
            <a:srgbClr val="FBAE40"/>
          </p15:clr>
        </p15:guide>
        <p15:guide id="3" orient="horz" pos="1507" userDrawn="1">
          <p15:clr>
            <a:srgbClr val="FBAE40"/>
          </p15:clr>
        </p15:guide>
        <p15:guide id="4" pos="208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0A8DCB7-5603-4A8A-A431-BF86803A0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6544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0A8DCB7-5603-4A8A-A431-BF86803A0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Grafik 33" descr="Ein Bild, das Text enthält.&#10;&#10;Automatisch generierte Beschreibung">
            <a:extLst>
              <a:ext uri="{FF2B5EF4-FFF2-40B4-BE49-F238E27FC236}">
                <a16:creationId xmlns:a16="http://schemas.microsoft.com/office/drawing/2014/main" id="{365A07E4-12CD-B1E4-DDDB-0BA18D7A0E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606448"/>
            <a:ext cx="9144000" cy="45370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295400" y="1404809"/>
            <a:ext cx="7272338" cy="1107996"/>
          </a:xfrm>
        </p:spPr>
        <p:txBody>
          <a:bodyPr vert="horz" anchor="t">
            <a:noAutofit/>
          </a:bodyPr>
          <a:lstStyle>
            <a:lvl1pPr algn="l">
              <a:lnSpc>
                <a:spcPct val="100000"/>
              </a:lnSpc>
              <a:defRPr sz="3600"/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  <a:endParaRPr lang="en-US" dirty="0"/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496DB4A4-A979-B3FC-2D37-F7C701F403F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295400" y="860400"/>
            <a:ext cx="78486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1672F20E-94C0-C6EA-FF20-2B584135CC9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76263" y="4673194"/>
            <a:ext cx="5649912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CD7F9867-14BA-CC03-D506-F5720B1E9AB7}"/>
              </a:ext>
            </a:extLst>
          </p:cNvPr>
          <p:cNvGrpSpPr/>
          <p:nvPr userDrawn="1"/>
        </p:nvGrpSpPr>
        <p:grpSpPr bwMode="gray">
          <a:xfrm>
            <a:off x="6396037" y="4663647"/>
            <a:ext cx="664369" cy="156246"/>
            <a:chOff x="358775" y="4774973"/>
            <a:chExt cx="735172" cy="172897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915DB907-6311-5203-3439-B85EAA894FD3}"/>
                </a:ext>
              </a:extLst>
            </p:cNvPr>
            <p:cNvSpPr/>
            <p:nvPr/>
          </p:nvSpPr>
          <p:spPr bwMode="gray">
            <a:xfrm>
              <a:off x="358775" y="4774973"/>
              <a:ext cx="735172" cy="172897"/>
            </a:xfrm>
            <a:custGeom>
              <a:avLst/>
              <a:gdLst>
                <a:gd name="connsiteX0" fmla="*/ 2575509 w 2918707"/>
                <a:gd name="connsiteY0" fmla="*/ 0 h 686420"/>
                <a:gd name="connsiteX1" fmla="*/ 343221 w 2918707"/>
                <a:gd name="connsiteY1" fmla="*/ 0 h 686420"/>
                <a:gd name="connsiteX2" fmla="*/ 0 w 2918707"/>
                <a:gd name="connsiteY2" fmla="*/ 343210 h 686420"/>
                <a:gd name="connsiteX3" fmla="*/ 343221 w 2918707"/>
                <a:gd name="connsiteY3" fmla="*/ 686420 h 686420"/>
                <a:gd name="connsiteX4" fmla="*/ 2575497 w 2918707"/>
                <a:gd name="connsiteY4" fmla="*/ 686420 h 686420"/>
                <a:gd name="connsiteX5" fmla="*/ 2918708 w 2918707"/>
                <a:gd name="connsiteY5" fmla="*/ 343210 h 686420"/>
                <a:gd name="connsiteX6" fmla="*/ 2575509 w 2918707"/>
                <a:gd name="connsiteY6" fmla="*/ 0 h 686420"/>
                <a:gd name="connsiteX7" fmla="*/ 2575509 w 2918707"/>
                <a:gd name="connsiteY7" fmla="*/ 662107 h 686420"/>
                <a:gd name="connsiteX8" fmla="*/ 343221 w 2918707"/>
                <a:gd name="connsiteY8" fmla="*/ 662107 h 686420"/>
                <a:gd name="connsiteX9" fmla="*/ 24313 w 2918707"/>
                <a:gd name="connsiteY9" fmla="*/ 343210 h 686420"/>
                <a:gd name="connsiteX10" fmla="*/ 343221 w 2918707"/>
                <a:gd name="connsiteY10" fmla="*/ 24325 h 686420"/>
                <a:gd name="connsiteX11" fmla="*/ 2575497 w 2918707"/>
                <a:gd name="connsiteY11" fmla="*/ 24325 h 686420"/>
                <a:gd name="connsiteX12" fmla="*/ 2894394 w 2918707"/>
                <a:gd name="connsiteY12" fmla="*/ 343221 h 686420"/>
                <a:gd name="connsiteX13" fmla="*/ 2575497 w 2918707"/>
                <a:gd name="connsiteY13" fmla="*/ 662118 h 686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18707" h="686420">
                  <a:moveTo>
                    <a:pt x="2575509" y="0"/>
                  </a:moveTo>
                  <a:lnTo>
                    <a:pt x="343221" y="0"/>
                  </a:lnTo>
                  <a:cubicBezTo>
                    <a:pt x="153970" y="0"/>
                    <a:pt x="0" y="153959"/>
                    <a:pt x="0" y="343210"/>
                  </a:cubicBezTo>
                  <a:cubicBezTo>
                    <a:pt x="0" y="532461"/>
                    <a:pt x="153970" y="686420"/>
                    <a:pt x="343221" y="686420"/>
                  </a:cubicBezTo>
                  <a:lnTo>
                    <a:pt x="2575497" y="686420"/>
                  </a:lnTo>
                  <a:cubicBezTo>
                    <a:pt x="2764749" y="686420"/>
                    <a:pt x="2918708" y="532450"/>
                    <a:pt x="2918708" y="343210"/>
                  </a:cubicBezTo>
                  <a:cubicBezTo>
                    <a:pt x="2918708" y="153970"/>
                    <a:pt x="2764749" y="0"/>
                    <a:pt x="2575509" y="0"/>
                  </a:cubicBezTo>
                  <a:close/>
                  <a:moveTo>
                    <a:pt x="2575509" y="662107"/>
                  </a:moveTo>
                  <a:lnTo>
                    <a:pt x="343221" y="662107"/>
                  </a:lnTo>
                  <a:cubicBezTo>
                    <a:pt x="167088" y="662107"/>
                    <a:pt x="24313" y="519332"/>
                    <a:pt x="24313" y="343210"/>
                  </a:cubicBezTo>
                  <a:cubicBezTo>
                    <a:pt x="24313" y="167088"/>
                    <a:pt x="167088" y="24325"/>
                    <a:pt x="343221" y="24325"/>
                  </a:cubicBezTo>
                  <a:lnTo>
                    <a:pt x="2575497" y="24325"/>
                  </a:lnTo>
                  <a:cubicBezTo>
                    <a:pt x="2751619" y="24325"/>
                    <a:pt x="2894394" y="167100"/>
                    <a:pt x="2894394" y="343221"/>
                  </a:cubicBezTo>
                  <a:cubicBezTo>
                    <a:pt x="2894394" y="519343"/>
                    <a:pt x="2751619" y="662118"/>
                    <a:pt x="2575497" y="662118"/>
                  </a:cubicBez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E5B2BB5B-F326-7971-F364-80452BF2FEE6}"/>
                </a:ext>
              </a:extLst>
            </p:cNvPr>
            <p:cNvSpPr/>
            <p:nvPr/>
          </p:nvSpPr>
          <p:spPr bwMode="gray">
            <a:xfrm>
              <a:off x="699090" y="4817610"/>
              <a:ext cx="56596" cy="87635"/>
            </a:xfrm>
            <a:custGeom>
              <a:avLst/>
              <a:gdLst>
                <a:gd name="connsiteX0" fmla="*/ 173960 w 224691"/>
                <a:gd name="connsiteY0" fmla="*/ 347875 h 347920"/>
                <a:gd name="connsiteX1" fmla="*/ 224692 w 224691"/>
                <a:gd name="connsiteY1" fmla="*/ 297132 h 347920"/>
                <a:gd name="connsiteX2" fmla="*/ 224692 w 224691"/>
                <a:gd name="connsiteY2" fmla="*/ 50971 h 347920"/>
                <a:gd name="connsiteX3" fmla="*/ 173960 w 224691"/>
                <a:gd name="connsiteY3" fmla="*/ 239 h 347920"/>
                <a:gd name="connsiteX4" fmla="*/ 166701 w 224691"/>
                <a:gd name="connsiteY4" fmla="*/ 0 h 347920"/>
                <a:gd name="connsiteX5" fmla="*/ 0 w 224691"/>
                <a:gd name="connsiteY5" fmla="*/ 23 h 347920"/>
                <a:gd name="connsiteX6" fmla="*/ 0 w 224691"/>
                <a:gd name="connsiteY6" fmla="*/ 347920 h 347920"/>
                <a:gd name="connsiteX7" fmla="*/ 166701 w 224691"/>
                <a:gd name="connsiteY7" fmla="*/ 347875 h 347920"/>
                <a:gd name="connsiteX8" fmla="*/ 173960 w 224691"/>
                <a:gd name="connsiteY8" fmla="*/ 347875 h 34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691" h="347920">
                  <a:moveTo>
                    <a:pt x="173960" y="347875"/>
                  </a:moveTo>
                  <a:cubicBezTo>
                    <a:pt x="201971" y="347875"/>
                    <a:pt x="224692" y="325154"/>
                    <a:pt x="224692" y="297132"/>
                  </a:cubicBezTo>
                  <a:lnTo>
                    <a:pt x="224692" y="50971"/>
                  </a:lnTo>
                  <a:cubicBezTo>
                    <a:pt x="224692" y="22960"/>
                    <a:pt x="201971" y="239"/>
                    <a:pt x="173960" y="239"/>
                  </a:cubicBezTo>
                  <a:lnTo>
                    <a:pt x="166701" y="0"/>
                  </a:lnTo>
                  <a:lnTo>
                    <a:pt x="0" y="23"/>
                  </a:lnTo>
                  <a:lnTo>
                    <a:pt x="0" y="347920"/>
                  </a:lnTo>
                  <a:lnTo>
                    <a:pt x="166701" y="347875"/>
                  </a:lnTo>
                  <a:lnTo>
                    <a:pt x="173960" y="347875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90D5E49D-8A51-8E9E-EF0E-60E35644E2CD}"/>
                </a:ext>
              </a:extLst>
            </p:cNvPr>
            <p:cNvSpPr/>
            <p:nvPr/>
          </p:nvSpPr>
          <p:spPr bwMode="gray">
            <a:xfrm>
              <a:off x="837295" y="4837696"/>
              <a:ext cx="37533" cy="42046"/>
            </a:xfrm>
            <a:custGeom>
              <a:avLst/>
              <a:gdLst>
                <a:gd name="connsiteX0" fmla="*/ 74658 w 149009"/>
                <a:gd name="connsiteY0" fmla="*/ 0 h 166928"/>
                <a:gd name="connsiteX1" fmla="*/ 0 w 149009"/>
                <a:gd name="connsiteY1" fmla="*/ 166929 h 166928"/>
                <a:gd name="connsiteX2" fmla="*/ 149010 w 149009"/>
                <a:gd name="connsiteY2" fmla="*/ 166804 h 166928"/>
                <a:gd name="connsiteX3" fmla="*/ 74658 w 149009"/>
                <a:gd name="connsiteY3" fmla="*/ 0 h 166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009" h="166928">
                  <a:moveTo>
                    <a:pt x="74658" y="0"/>
                  </a:moveTo>
                  <a:lnTo>
                    <a:pt x="0" y="166929"/>
                  </a:lnTo>
                  <a:lnTo>
                    <a:pt x="149010" y="166804"/>
                  </a:lnTo>
                  <a:lnTo>
                    <a:pt x="74658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65F1DFF4-092C-DD00-AEBC-FF64637BCD44}"/>
                </a:ext>
              </a:extLst>
            </p:cNvPr>
            <p:cNvSpPr/>
            <p:nvPr/>
          </p:nvSpPr>
          <p:spPr bwMode="gray">
            <a:xfrm>
              <a:off x="364902" y="4781100"/>
              <a:ext cx="722923" cy="160646"/>
            </a:xfrm>
            <a:custGeom>
              <a:avLst/>
              <a:gdLst>
                <a:gd name="connsiteX0" fmla="*/ 2551184 w 2870080"/>
                <a:gd name="connsiteY0" fmla="*/ 0 h 637781"/>
                <a:gd name="connsiteX1" fmla="*/ 318897 w 2870080"/>
                <a:gd name="connsiteY1" fmla="*/ 0 h 637781"/>
                <a:gd name="connsiteX2" fmla="*/ 0 w 2870080"/>
                <a:gd name="connsiteY2" fmla="*/ 318885 h 637781"/>
                <a:gd name="connsiteX3" fmla="*/ 318908 w 2870080"/>
                <a:gd name="connsiteY3" fmla="*/ 637782 h 637781"/>
                <a:gd name="connsiteX4" fmla="*/ 2551184 w 2870080"/>
                <a:gd name="connsiteY4" fmla="*/ 637782 h 637781"/>
                <a:gd name="connsiteX5" fmla="*/ 2870081 w 2870080"/>
                <a:gd name="connsiteY5" fmla="*/ 318885 h 637781"/>
                <a:gd name="connsiteX6" fmla="*/ 2551184 w 2870080"/>
                <a:gd name="connsiteY6" fmla="*/ 0 h 637781"/>
                <a:gd name="connsiteX7" fmla="*/ 2696496 w 2870080"/>
                <a:gd name="connsiteY7" fmla="*/ 195771 h 637781"/>
                <a:gd name="connsiteX8" fmla="*/ 2573336 w 2870080"/>
                <a:gd name="connsiteY8" fmla="*/ 195771 h 637781"/>
                <a:gd name="connsiteX9" fmla="*/ 2573336 w 2870080"/>
                <a:gd name="connsiteY9" fmla="*/ 195930 h 637781"/>
                <a:gd name="connsiteX10" fmla="*/ 2573279 w 2870080"/>
                <a:gd name="connsiteY10" fmla="*/ 195782 h 637781"/>
                <a:gd name="connsiteX11" fmla="*/ 2573336 w 2870080"/>
                <a:gd name="connsiteY11" fmla="*/ 195782 h 637781"/>
                <a:gd name="connsiteX12" fmla="*/ 2522604 w 2870080"/>
                <a:gd name="connsiteY12" fmla="*/ 145198 h 637781"/>
                <a:gd name="connsiteX13" fmla="*/ 2515300 w 2870080"/>
                <a:gd name="connsiteY13" fmla="*/ 144959 h 637781"/>
                <a:gd name="connsiteX14" fmla="*/ 2406578 w 2870080"/>
                <a:gd name="connsiteY14" fmla="*/ 144959 h 637781"/>
                <a:gd name="connsiteX15" fmla="*/ 2399489 w 2870080"/>
                <a:gd name="connsiteY15" fmla="*/ 145198 h 637781"/>
                <a:gd name="connsiteX16" fmla="*/ 2348746 w 2870080"/>
                <a:gd name="connsiteY16" fmla="*/ 195441 h 637781"/>
                <a:gd name="connsiteX17" fmla="*/ 2348587 w 2870080"/>
                <a:gd name="connsiteY17" fmla="*/ 202927 h 637781"/>
                <a:gd name="connsiteX18" fmla="*/ 2348587 w 2870080"/>
                <a:gd name="connsiteY18" fmla="*/ 434843 h 637781"/>
                <a:gd name="connsiteX19" fmla="*/ 2348701 w 2870080"/>
                <a:gd name="connsiteY19" fmla="*/ 442079 h 637781"/>
                <a:gd name="connsiteX20" fmla="*/ 2399444 w 2870080"/>
                <a:gd name="connsiteY20" fmla="*/ 492823 h 637781"/>
                <a:gd name="connsiteX21" fmla="*/ 2522593 w 2870080"/>
                <a:gd name="connsiteY21" fmla="*/ 492823 h 637781"/>
                <a:gd name="connsiteX22" fmla="*/ 2573324 w 2870080"/>
                <a:gd name="connsiteY22" fmla="*/ 442205 h 637781"/>
                <a:gd name="connsiteX23" fmla="*/ 2573268 w 2870080"/>
                <a:gd name="connsiteY23" fmla="*/ 442205 h 637781"/>
                <a:gd name="connsiteX24" fmla="*/ 2573324 w 2870080"/>
                <a:gd name="connsiteY24" fmla="*/ 442079 h 637781"/>
                <a:gd name="connsiteX25" fmla="*/ 2573324 w 2870080"/>
                <a:gd name="connsiteY25" fmla="*/ 442205 h 637781"/>
                <a:gd name="connsiteX26" fmla="*/ 2696485 w 2870080"/>
                <a:gd name="connsiteY26" fmla="*/ 442205 h 637781"/>
                <a:gd name="connsiteX27" fmla="*/ 2696485 w 2870080"/>
                <a:gd name="connsiteY27" fmla="*/ 456586 h 637781"/>
                <a:gd name="connsiteX28" fmla="*/ 2696371 w 2870080"/>
                <a:gd name="connsiteY28" fmla="*/ 471160 h 637781"/>
                <a:gd name="connsiteX29" fmla="*/ 2602155 w 2870080"/>
                <a:gd name="connsiteY29" fmla="*/ 565365 h 637781"/>
                <a:gd name="connsiteX30" fmla="*/ 2587762 w 2870080"/>
                <a:gd name="connsiteY30" fmla="*/ 565297 h 637781"/>
                <a:gd name="connsiteX31" fmla="*/ 2334092 w 2870080"/>
                <a:gd name="connsiteY31" fmla="*/ 565297 h 637781"/>
                <a:gd name="connsiteX32" fmla="*/ 2319404 w 2870080"/>
                <a:gd name="connsiteY32" fmla="*/ 565365 h 637781"/>
                <a:gd name="connsiteX33" fmla="*/ 2225177 w 2870080"/>
                <a:gd name="connsiteY33" fmla="*/ 471160 h 637781"/>
                <a:gd name="connsiteX34" fmla="*/ 2225370 w 2870080"/>
                <a:gd name="connsiteY34" fmla="*/ 456586 h 637781"/>
                <a:gd name="connsiteX35" fmla="*/ 2225370 w 2870080"/>
                <a:gd name="connsiteY35" fmla="*/ 167043 h 637781"/>
                <a:gd name="connsiteX36" fmla="*/ 2319597 w 2870080"/>
                <a:gd name="connsiteY36" fmla="*/ 72815 h 637781"/>
                <a:gd name="connsiteX37" fmla="*/ 2334081 w 2870080"/>
                <a:gd name="connsiteY37" fmla="*/ 72485 h 637781"/>
                <a:gd name="connsiteX38" fmla="*/ 2587751 w 2870080"/>
                <a:gd name="connsiteY38" fmla="*/ 72485 h 637781"/>
                <a:gd name="connsiteX39" fmla="*/ 2602143 w 2870080"/>
                <a:gd name="connsiteY39" fmla="*/ 72372 h 637781"/>
                <a:gd name="connsiteX40" fmla="*/ 2696360 w 2870080"/>
                <a:gd name="connsiteY40" fmla="*/ 166599 h 637781"/>
                <a:gd name="connsiteX41" fmla="*/ 2696473 w 2870080"/>
                <a:gd name="connsiteY41" fmla="*/ 181196 h 637781"/>
                <a:gd name="connsiteX42" fmla="*/ 2696473 w 2870080"/>
                <a:gd name="connsiteY42" fmla="*/ 195771 h 637781"/>
                <a:gd name="connsiteX43" fmla="*/ 195748 w 2870080"/>
                <a:gd name="connsiteY43" fmla="*/ 72474 h 637781"/>
                <a:gd name="connsiteX44" fmla="*/ 319022 w 2870080"/>
                <a:gd name="connsiteY44" fmla="*/ 72474 h 637781"/>
                <a:gd name="connsiteX45" fmla="*/ 319022 w 2870080"/>
                <a:gd name="connsiteY45" fmla="*/ 282660 h 637781"/>
                <a:gd name="connsiteX46" fmla="*/ 543884 w 2870080"/>
                <a:gd name="connsiteY46" fmla="*/ 282739 h 637781"/>
                <a:gd name="connsiteX47" fmla="*/ 543884 w 2870080"/>
                <a:gd name="connsiteY47" fmla="*/ 72474 h 637781"/>
                <a:gd name="connsiteX48" fmla="*/ 808272 w 2870080"/>
                <a:gd name="connsiteY48" fmla="*/ 72474 h 637781"/>
                <a:gd name="connsiteX49" fmla="*/ 935255 w 2870080"/>
                <a:gd name="connsiteY49" fmla="*/ 260792 h 637781"/>
                <a:gd name="connsiteX50" fmla="*/ 1061976 w 2870080"/>
                <a:gd name="connsiteY50" fmla="*/ 72474 h 637781"/>
                <a:gd name="connsiteX51" fmla="*/ 1566153 w 2870080"/>
                <a:gd name="connsiteY51" fmla="*/ 72474 h 637781"/>
                <a:gd name="connsiteX52" fmla="*/ 1580591 w 2870080"/>
                <a:gd name="connsiteY52" fmla="*/ 72610 h 637781"/>
                <a:gd name="connsiteX53" fmla="*/ 1674807 w 2870080"/>
                <a:gd name="connsiteY53" fmla="*/ 166827 h 637781"/>
                <a:gd name="connsiteX54" fmla="*/ 1674875 w 2870080"/>
                <a:gd name="connsiteY54" fmla="*/ 181173 h 637781"/>
                <a:gd name="connsiteX55" fmla="*/ 1674875 w 2870080"/>
                <a:gd name="connsiteY55" fmla="*/ 456574 h 637781"/>
                <a:gd name="connsiteX56" fmla="*/ 1674614 w 2870080"/>
                <a:gd name="connsiteY56" fmla="*/ 470955 h 637781"/>
                <a:gd name="connsiteX57" fmla="*/ 1580398 w 2870080"/>
                <a:gd name="connsiteY57" fmla="*/ 565160 h 637781"/>
                <a:gd name="connsiteX58" fmla="*/ 1566165 w 2870080"/>
                <a:gd name="connsiteY58" fmla="*/ 565285 h 637781"/>
                <a:gd name="connsiteX59" fmla="*/ 1203420 w 2870080"/>
                <a:gd name="connsiteY59" fmla="*/ 565285 h 637781"/>
                <a:gd name="connsiteX60" fmla="*/ 1203397 w 2870080"/>
                <a:gd name="connsiteY60" fmla="*/ 80643 h 637781"/>
                <a:gd name="connsiteX61" fmla="*/ 1000447 w 2870080"/>
                <a:gd name="connsiteY61" fmla="*/ 370470 h 637781"/>
                <a:gd name="connsiteX62" fmla="*/ 1000481 w 2870080"/>
                <a:gd name="connsiteY62" fmla="*/ 565285 h 637781"/>
                <a:gd name="connsiteX63" fmla="*/ 870017 w 2870080"/>
                <a:gd name="connsiteY63" fmla="*/ 565285 h 637781"/>
                <a:gd name="connsiteX64" fmla="*/ 870017 w 2870080"/>
                <a:gd name="connsiteY64" fmla="*/ 371210 h 637781"/>
                <a:gd name="connsiteX65" fmla="*/ 666965 w 2870080"/>
                <a:gd name="connsiteY65" fmla="*/ 81382 h 637781"/>
                <a:gd name="connsiteX66" fmla="*/ 667079 w 2870080"/>
                <a:gd name="connsiteY66" fmla="*/ 565285 h 637781"/>
                <a:gd name="connsiteX67" fmla="*/ 543873 w 2870080"/>
                <a:gd name="connsiteY67" fmla="*/ 565285 h 637781"/>
                <a:gd name="connsiteX68" fmla="*/ 543873 w 2870080"/>
                <a:gd name="connsiteY68" fmla="*/ 355099 h 637781"/>
                <a:gd name="connsiteX69" fmla="*/ 319010 w 2870080"/>
                <a:gd name="connsiteY69" fmla="*/ 355099 h 637781"/>
                <a:gd name="connsiteX70" fmla="*/ 319010 w 2870080"/>
                <a:gd name="connsiteY70" fmla="*/ 565274 h 637781"/>
                <a:gd name="connsiteX71" fmla="*/ 195691 w 2870080"/>
                <a:gd name="connsiteY71" fmla="*/ 565274 h 637781"/>
                <a:gd name="connsiteX72" fmla="*/ 195736 w 2870080"/>
                <a:gd name="connsiteY72" fmla="*/ 72451 h 637781"/>
                <a:gd name="connsiteX73" fmla="*/ 2008449 w 2870080"/>
                <a:gd name="connsiteY73" fmla="*/ 72463 h 637781"/>
                <a:gd name="connsiteX74" fmla="*/ 2240639 w 2870080"/>
                <a:gd name="connsiteY74" fmla="*/ 565217 h 637781"/>
                <a:gd name="connsiteX75" fmla="*/ 2101812 w 2870080"/>
                <a:gd name="connsiteY75" fmla="*/ 565217 h 637781"/>
                <a:gd name="connsiteX76" fmla="*/ 2056746 w 2870080"/>
                <a:gd name="connsiteY76" fmla="*/ 464049 h 637781"/>
                <a:gd name="connsiteX77" fmla="*/ 1843579 w 2870080"/>
                <a:gd name="connsiteY77" fmla="*/ 464049 h 637781"/>
                <a:gd name="connsiteX78" fmla="*/ 1798206 w 2870080"/>
                <a:gd name="connsiteY78" fmla="*/ 565342 h 637781"/>
                <a:gd name="connsiteX79" fmla="*/ 1659937 w 2870080"/>
                <a:gd name="connsiteY79" fmla="*/ 565365 h 637781"/>
                <a:gd name="connsiteX80" fmla="*/ 1892126 w 2870080"/>
                <a:gd name="connsiteY80" fmla="*/ 72474 h 637781"/>
                <a:gd name="connsiteX81" fmla="*/ 2008460 w 2870080"/>
                <a:gd name="connsiteY81" fmla="*/ 72474 h 637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2870080" h="637781">
                  <a:moveTo>
                    <a:pt x="2551184" y="0"/>
                  </a:moveTo>
                  <a:lnTo>
                    <a:pt x="318897" y="0"/>
                  </a:lnTo>
                  <a:cubicBezTo>
                    <a:pt x="142763" y="0"/>
                    <a:pt x="0" y="142763"/>
                    <a:pt x="0" y="318885"/>
                  </a:cubicBezTo>
                  <a:cubicBezTo>
                    <a:pt x="0" y="495007"/>
                    <a:pt x="142775" y="637782"/>
                    <a:pt x="318908" y="637782"/>
                  </a:cubicBezTo>
                  <a:lnTo>
                    <a:pt x="2551184" y="637782"/>
                  </a:lnTo>
                  <a:cubicBezTo>
                    <a:pt x="2727306" y="637782"/>
                    <a:pt x="2870081" y="495007"/>
                    <a:pt x="2870081" y="318885"/>
                  </a:cubicBezTo>
                  <a:cubicBezTo>
                    <a:pt x="2870081" y="142763"/>
                    <a:pt x="2727306" y="0"/>
                    <a:pt x="2551184" y="0"/>
                  </a:cubicBezTo>
                  <a:close/>
                  <a:moveTo>
                    <a:pt x="2696496" y="195771"/>
                  </a:moveTo>
                  <a:lnTo>
                    <a:pt x="2573336" y="195771"/>
                  </a:lnTo>
                  <a:cubicBezTo>
                    <a:pt x="2573336" y="195827"/>
                    <a:pt x="2573336" y="195873"/>
                    <a:pt x="2573336" y="195930"/>
                  </a:cubicBezTo>
                  <a:lnTo>
                    <a:pt x="2573279" y="195782"/>
                  </a:lnTo>
                  <a:lnTo>
                    <a:pt x="2573336" y="195782"/>
                  </a:lnTo>
                  <a:cubicBezTo>
                    <a:pt x="2573256" y="167839"/>
                    <a:pt x="2550570" y="145198"/>
                    <a:pt x="2522604" y="145198"/>
                  </a:cubicBezTo>
                  <a:lnTo>
                    <a:pt x="2515300" y="144959"/>
                  </a:lnTo>
                  <a:lnTo>
                    <a:pt x="2406578" y="144959"/>
                  </a:lnTo>
                  <a:lnTo>
                    <a:pt x="2399489" y="145198"/>
                  </a:lnTo>
                  <a:cubicBezTo>
                    <a:pt x="2371478" y="145198"/>
                    <a:pt x="2348746" y="167430"/>
                    <a:pt x="2348746" y="195441"/>
                  </a:cubicBezTo>
                  <a:lnTo>
                    <a:pt x="2348587" y="202927"/>
                  </a:lnTo>
                  <a:lnTo>
                    <a:pt x="2348587" y="434843"/>
                  </a:lnTo>
                  <a:lnTo>
                    <a:pt x="2348701" y="442079"/>
                  </a:lnTo>
                  <a:cubicBezTo>
                    <a:pt x="2348701" y="470113"/>
                    <a:pt x="2371410" y="492823"/>
                    <a:pt x="2399444" y="492823"/>
                  </a:cubicBezTo>
                  <a:lnTo>
                    <a:pt x="2522593" y="492823"/>
                  </a:lnTo>
                  <a:cubicBezTo>
                    <a:pt x="2550570" y="492823"/>
                    <a:pt x="2573256" y="470170"/>
                    <a:pt x="2573324" y="442205"/>
                  </a:cubicBezTo>
                  <a:lnTo>
                    <a:pt x="2573268" y="442205"/>
                  </a:lnTo>
                  <a:lnTo>
                    <a:pt x="2573324" y="442079"/>
                  </a:lnTo>
                  <a:cubicBezTo>
                    <a:pt x="2573324" y="442079"/>
                    <a:pt x="2573324" y="442159"/>
                    <a:pt x="2573324" y="442205"/>
                  </a:cubicBezTo>
                  <a:lnTo>
                    <a:pt x="2696485" y="442205"/>
                  </a:lnTo>
                  <a:lnTo>
                    <a:pt x="2696485" y="456586"/>
                  </a:lnTo>
                  <a:lnTo>
                    <a:pt x="2696371" y="471160"/>
                  </a:lnTo>
                  <a:cubicBezTo>
                    <a:pt x="2696371" y="523189"/>
                    <a:pt x="2654183" y="565365"/>
                    <a:pt x="2602155" y="565365"/>
                  </a:cubicBezTo>
                  <a:lnTo>
                    <a:pt x="2587762" y="565297"/>
                  </a:lnTo>
                  <a:lnTo>
                    <a:pt x="2334092" y="565297"/>
                  </a:lnTo>
                  <a:lnTo>
                    <a:pt x="2319404" y="565365"/>
                  </a:lnTo>
                  <a:cubicBezTo>
                    <a:pt x="2267364" y="565365"/>
                    <a:pt x="2225177" y="523189"/>
                    <a:pt x="2225177" y="471160"/>
                  </a:cubicBezTo>
                  <a:lnTo>
                    <a:pt x="2225370" y="456586"/>
                  </a:lnTo>
                  <a:lnTo>
                    <a:pt x="2225370" y="167043"/>
                  </a:lnTo>
                  <a:cubicBezTo>
                    <a:pt x="2225370" y="115003"/>
                    <a:pt x="2267569" y="72815"/>
                    <a:pt x="2319597" y="72815"/>
                  </a:cubicBezTo>
                  <a:lnTo>
                    <a:pt x="2334081" y="72485"/>
                  </a:lnTo>
                  <a:lnTo>
                    <a:pt x="2587751" y="72485"/>
                  </a:lnTo>
                  <a:lnTo>
                    <a:pt x="2602143" y="72372"/>
                  </a:lnTo>
                  <a:cubicBezTo>
                    <a:pt x="2654172" y="72372"/>
                    <a:pt x="2696360" y="114570"/>
                    <a:pt x="2696360" y="166599"/>
                  </a:cubicBezTo>
                  <a:lnTo>
                    <a:pt x="2696473" y="181196"/>
                  </a:lnTo>
                  <a:lnTo>
                    <a:pt x="2696473" y="195771"/>
                  </a:lnTo>
                  <a:close/>
                  <a:moveTo>
                    <a:pt x="195748" y="72474"/>
                  </a:moveTo>
                  <a:lnTo>
                    <a:pt x="319022" y="72474"/>
                  </a:lnTo>
                  <a:lnTo>
                    <a:pt x="319022" y="282660"/>
                  </a:lnTo>
                  <a:lnTo>
                    <a:pt x="543884" y="282739"/>
                  </a:lnTo>
                  <a:lnTo>
                    <a:pt x="543884" y="72474"/>
                  </a:lnTo>
                  <a:lnTo>
                    <a:pt x="808272" y="72474"/>
                  </a:lnTo>
                  <a:lnTo>
                    <a:pt x="935255" y="260792"/>
                  </a:lnTo>
                  <a:lnTo>
                    <a:pt x="1061976" y="72474"/>
                  </a:lnTo>
                  <a:lnTo>
                    <a:pt x="1566153" y="72474"/>
                  </a:lnTo>
                  <a:lnTo>
                    <a:pt x="1580591" y="72610"/>
                  </a:lnTo>
                  <a:cubicBezTo>
                    <a:pt x="1632620" y="72610"/>
                    <a:pt x="1674807" y="114798"/>
                    <a:pt x="1674807" y="166827"/>
                  </a:cubicBezTo>
                  <a:lnTo>
                    <a:pt x="1674875" y="181173"/>
                  </a:lnTo>
                  <a:lnTo>
                    <a:pt x="1674875" y="456574"/>
                  </a:lnTo>
                  <a:lnTo>
                    <a:pt x="1674614" y="470955"/>
                  </a:lnTo>
                  <a:cubicBezTo>
                    <a:pt x="1674614" y="522995"/>
                    <a:pt x="1632427" y="565160"/>
                    <a:pt x="1580398" y="565160"/>
                  </a:cubicBezTo>
                  <a:lnTo>
                    <a:pt x="1566165" y="565285"/>
                  </a:lnTo>
                  <a:lnTo>
                    <a:pt x="1203420" y="565285"/>
                  </a:lnTo>
                  <a:lnTo>
                    <a:pt x="1203397" y="80643"/>
                  </a:lnTo>
                  <a:lnTo>
                    <a:pt x="1000447" y="370470"/>
                  </a:lnTo>
                  <a:lnTo>
                    <a:pt x="1000481" y="565285"/>
                  </a:lnTo>
                  <a:lnTo>
                    <a:pt x="870017" y="565285"/>
                  </a:lnTo>
                  <a:lnTo>
                    <a:pt x="870017" y="371210"/>
                  </a:lnTo>
                  <a:lnTo>
                    <a:pt x="666965" y="81382"/>
                  </a:lnTo>
                  <a:lnTo>
                    <a:pt x="667079" y="565285"/>
                  </a:lnTo>
                  <a:lnTo>
                    <a:pt x="543873" y="565285"/>
                  </a:lnTo>
                  <a:lnTo>
                    <a:pt x="543873" y="355099"/>
                  </a:lnTo>
                  <a:lnTo>
                    <a:pt x="319010" y="355099"/>
                  </a:lnTo>
                  <a:lnTo>
                    <a:pt x="319010" y="565274"/>
                  </a:lnTo>
                  <a:lnTo>
                    <a:pt x="195691" y="565274"/>
                  </a:lnTo>
                  <a:lnTo>
                    <a:pt x="195736" y="72451"/>
                  </a:lnTo>
                  <a:close/>
                  <a:moveTo>
                    <a:pt x="2008449" y="72463"/>
                  </a:moveTo>
                  <a:lnTo>
                    <a:pt x="2240639" y="565217"/>
                  </a:lnTo>
                  <a:lnTo>
                    <a:pt x="2101812" y="565217"/>
                  </a:lnTo>
                  <a:lnTo>
                    <a:pt x="2056746" y="464049"/>
                  </a:lnTo>
                  <a:lnTo>
                    <a:pt x="1843579" y="464049"/>
                  </a:lnTo>
                  <a:lnTo>
                    <a:pt x="1798206" y="565342"/>
                  </a:lnTo>
                  <a:lnTo>
                    <a:pt x="1659937" y="565365"/>
                  </a:lnTo>
                  <a:lnTo>
                    <a:pt x="1892126" y="72474"/>
                  </a:lnTo>
                  <a:lnTo>
                    <a:pt x="2008460" y="72474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0ED231F5-7B7A-D8D6-624D-99C50DFD24E7}"/>
                </a:ext>
              </a:extLst>
            </p:cNvPr>
            <p:cNvSpPr/>
            <p:nvPr/>
          </p:nvSpPr>
          <p:spPr bwMode="gray">
            <a:xfrm>
              <a:off x="414202" y="4799355"/>
              <a:ext cx="372578" cy="124136"/>
            </a:xfrm>
            <a:custGeom>
              <a:avLst/>
              <a:gdLst>
                <a:gd name="connsiteX0" fmla="*/ 123308 w 1479173"/>
                <a:gd name="connsiteY0" fmla="*/ 282648 h 492833"/>
                <a:gd name="connsiteX1" fmla="*/ 348171 w 1479173"/>
                <a:gd name="connsiteY1" fmla="*/ 282648 h 492833"/>
                <a:gd name="connsiteX2" fmla="*/ 348171 w 1479173"/>
                <a:gd name="connsiteY2" fmla="*/ 492834 h 492833"/>
                <a:gd name="connsiteX3" fmla="*/ 471376 w 1479173"/>
                <a:gd name="connsiteY3" fmla="*/ 492834 h 492833"/>
                <a:gd name="connsiteX4" fmla="*/ 471262 w 1479173"/>
                <a:gd name="connsiteY4" fmla="*/ 8931 h 492833"/>
                <a:gd name="connsiteX5" fmla="*/ 674315 w 1479173"/>
                <a:gd name="connsiteY5" fmla="*/ 298759 h 492833"/>
                <a:gd name="connsiteX6" fmla="*/ 674315 w 1479173"/>
                <a:gd name="connsiteY6" fmla="*/ 492834 h 492833"/>
                <a:gd name="connsiteX7" fmla="*/ 804779 w 1479173"/>
                <a:gd name="connsiteY7" fmla="*/ 492834 h 492833"/>
                <a:gd name="connsiteX8" fmla="*/ 804745 w 1479173"/>
                <a:gd name="connsiteY8" fmla="*/ 298019 h 492833"/>
                <a:gd name="connsiteX9" fmla="*/ 1007695 w 1479173"/>
                <a:gd name="connsiteY9" fmla="*/ 8192 h 492833"/>
                <a:gd name="connsiteX10" fmla="*/ 1007717 w 1479173"/>
                <a:gd name="connsiteY10" fmla="*/ 492834 h 492833"/>
                <a:gd name="connsiteX11" fmla="*/ 1370462 w 1479173"/>
                <a:gd name="connsiteY11" fmla="*/ 492834 h 492833"/>
                <a:gd name="connsiteX12" fmla="*/ 1384695 w 1479173"/>
                <a:gd name="connsiteY12" fmla="*/ 492709 h 492833"/>
                <a:gd name="connsiteX13" fmla="*/ 1478912 w 1479173"/>
                <a:gd name="connsiteY13" fmla="*/ 398504 h 492833"/>
                <a:gd name="connsiteX14" fmla="*/ 1479173 w 1479173"/>
                <a:gd name="connsiteY14" fmla="*/ 384123 h 492833"/>
                <a:gd name="connsiteX15" fmla="*/ 1479173 w 1479173"/>
                <a:gd name="connsiteY15" fmla="*/ 108711 h 492833"/>
                <a:gd name="connsiteX16" fmla="*/ 1479105 w 1479173"/>
                <a:gd name="connsiteY16" fmla="*/ 94364 h 492833"/>
                <a:gd name="connsiteX17" fmla="*/ 1384889 w 1479173"/>
                <a:gd name="connsiteY17" fmla="*/ 148 h 492833"/>
                <a:gd name="connsiteX18" fmla="*/ 1370451 w 1479173"/>
                <a:gd name="connsiteY18" fmla="*/ 11 h 492833"/>
                <a:gd name="connsiteX19" fmla="*/ 866274 w 1479173"/>
                <a:gd name="connsiteY19" fmla="*/ 11 h 492833"/>
                <a:gd name="connsiteX20" fmla="*/ 739552 w 1479173"/>
                <a:gd name="connsiteY20" fmla="*/ 188330 h 492833"/>
                <a:gd name="connsiteX21" fmla="*/ 612570 w 1479173"/>
                <a:gd name="connsiteY21" fmla="*/ 11 h 492833"/>
                <a:gd name="connsiteX22" fmla="*/ 348182 w 1479173"/>
                <a:gd name="connsiteY22" fmla="*/ 11 h 492833"/>
                <a:gd name="connsiteX23" fmla="*/ 348182 w 1479173"/>
                <a:gd name="connsiteY23" fmla="*/ 210277 h 492833"/>
                <a:gd name="connsiteX24" fmla="*/ 123319 w 1479173"/>
                <a:gd name="connsiteY24" fmla="*/ 210197 h 492833"/>
                <a:gd name="connsiteX25" fmla="*/ 123319 w 1479173"/>
                <a:gd name="connsiteY25" fmla="*/ 0 h 492833"/>
                <a:gd name="connsiteX26" fmla="*/ 46 w 1479173"/>
                <a:gd name="connsiteY26" fmla="*/ 0 h 492833"/>
                <a:gd name="connsiteX27" fmla="*/ 0 w 1479173"/>
                <a:gd name="connsiteY27" fmla="*/ 492823 h 492833"/>
                <a:gd name="connsiteX28" fmla="*/ 123319 w 1479173"/>
                <a:gd name="connsiteY28" fmla="*/ 492823 h 492833"/>
                <a:gd name="connsiteX29" fmla="*/ 123319 w 1479173"/>
                <a:gd name="connsiteY29" fmla="*/ 282648 h 492833"/>
                <a:gd name="connsiteX30" fmla="*/ 1131060 w 1479173"/>
                <a:gd name="connsiteY30" fmla="*/ 72497 h 492833"/>
                <a:gd name="connsiteX31" fmla="*/ 1297761 w 1479173"/>
                <a:gd name="connsiteY31" fmla="*/ 72474 h 492833"/>
                <a:gd name="connsiteX32" fmla="*/ 1305020 w 1479173"/>
                <a:gd name="connsiteY32" fmla="*/ 72713 h 492833"/>
                <a:gd name="connsiteX33" fmla="*/ 1355751 w 1479173"/>
                <a:gd name="connsiteY33" fmla="*/ 123445 h 492833"/>
                <a:gd name="connsiteX34" fmla="*/ 1355751 w 1479173"/>
                <a:gd name="connsiteY34" fmla="*/ 369594 h 492833"/>
                <a:gd name="connsiteX35" fmla="*/ 1305020 w 1479173"/>
                <a:gd name="connsiteY35" fmla="*/ 420337 h 492833"/>
                <a:gd name="connsiteX36" fmla="*/ 1297761 w 1479173"/>
                <a:gd name="connsiteY36" fmla="*/ 420337 h 492833"/>
                <a:gd name="connsiteX37" fmla="*/ 1131060 w 1479173"/>
                <a:gd name="connsiteY37" fmla="*/ 420383 h 492833"/>
                <a:gd name="connsiteX38" fmla="*/ 1131060 w 1479173"/>
                <a:gd name="connsiteY38" fmla="*/ 72497 h 49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479173" h="492833">
                  <a:moveTo>
                    <a:pt x="123308" y="282648"/>
                  </a:moveTo>
                  <a:lnTo>
                    <a:pt x="348171" y="282648"/>
                  </a:lnTo>
                  <a:lnTo>
                    <a:pt x="348171" y="492834"/>
                  </a:lnTo>
                  <a:lnTo>
                    <a:pt x="471376" y="492834"/>
                  </a:lnTo>
                  <a:lnTo>
                    <a:pt x="471262" y="8931"/>
                  </a:lnTo>
                  <a:lnTo>
                    <a:pt x="674315" y="298759"/>
                  </a:lnTo>
                  <a:lnTo>
                    <a:pt x="674315" y="492834"/>
                  </a:lnTo>
                  <a:lnTo>
                    <a:pt x="804779" y="492834"/>
                  </a:lnTo>
                  <a:lnTo>
                    <a:pt x="804745" y="298019"/>
                  </a:lnTo>
                  <a:lnTo>
                    <a:pt x="1007695" y="8192"/>
                  </a:lnTo>
                  <a:lnTo>
                    <a:pt x="1007717" y="492834"/>
                  </a:lnTo>
                  <a:lnTo>
                    <a:pt x="1370462" y="492834"/>
                  </a:lnTo>
                  <a:lnTo>
                    <a:pt x="1384695" y="492709"/>
                  </a:lnTo>
                  <a:cubicBezTo>
                    <a:pt x="1436724" y="492709"/>
                    <a:pt x="1478912" y="450533"/>
                    <a:pt x="1478912" y="398504"/>
                  </a:cubicBezTo>
                  <a:lnTo>
                    <a:pt x="1479173" y="384123"/>
                  </a:lnTo>
                  <a:lnTo>
                    <a:pt x="1479173" y="108711"/>
                  </a:lnTo>
                  <a:lnTo>
                    <a:pt x="1479105" y="94364"/>
                  </a:lnTo>
                  <a:cubicBezTo>
                    <a:pt x="1479105" y="42335"/>
                    <a:pt x="1436918" y="148"/>
                    <a:pt x="1384889" y="148"/>
                  </a:cubicBezTo>
                  <a:lnTo>
                    <a:pt x="1370451" y="11"/>
                  </a:lnTo>
                  <a:lnTo>
                    <a:pt x="866274" y="11"/>
                  </a:lnTo>
                  <a:lnTo>
                    <a:pt x="739552" y="188330"/>
                  </a:lnTo>
                  <a:lnTo>
                    <a:pt x="612570" y="11"/>
                  </a:lnTo>
                  <a:lnTo>
                    <a:pt x="348182" y="11"/>
                  </a:lnTo>
                  <a:lnTo>
                    <a:pt x="348182" y="210277"/>
                  </a:lnTo>
                  <a:lnTo>
                    <a:pt x="123319" y="210197"/>
                  </a:lnTo>
                  <a:lnTo>
                    <a:pt x="123319" y="0"/>
                  </a:lnTo>
                  <a:lnTo>
                    <a:pt x="46" y="0"/>
                  </a:lnTo>
                  <a:lnTo>
                    <a:pt x="0" y="492823"/>
                  </a:lnTo>
                  <a:lnTo>
                    <a:pt x="123319" y="492823"/>
                  </a:lnTo>
                  <a:lnTo>
                    <a:pt x="123319" y="282648"/>
                  </a:lnTo>
                  <a:close/>
                  <a:moveTo>
                    <a:pt x="1131060" y="72497"/>
                  </a:moveTo>
                  <a:lnTo>
                    <a:pt x="1297761" y="72474"/>
                  </a:lnTo>
                  <a:lnTo>
                    <a:pt x="1305020" y="72713"/>
                  </a:lnTo>
                  <a:cubicBezTo>
                    <a:pt x="1333031" y="72713"/>
                    <a:pt x="1355751" y="95433"/>
                    <a:pt x="1355751" y="123445"/>
                  </a:cubicBezTo>
                  <a:lnTo>
                    <a:pt x="1355751" y="369594"/>
                  </a:lnTo>
                  <a:cubicBezTo>
                    <a:pt x="1355751" y="397628"/>
                    <a:pt x="1333031" y="420337"/>
                    <a:pt x="1305020" y="420337"/>
                  </a:cubicBezTo>
                  <a:lnTo>
                    <a:pt x="1297761" y="420337"/>
                  </a:lnTo>
                  <a:lnTo>
                    <a:pt x="1131060" y="420383"/>
                  </a:lnTo>
                  <a:lnTo>
                    <a:pt x="1131060" y="72497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FF9FE2A7-1687-CB7F-B654-0FFC5D3B7A85}"/>
                </a:ext>
              </a:extLst>
            </p:cNvPr>
            <p:cNvSpPr/>
            <p:nvPr/>
          </p:nvSpPr>
          <p:spPr bwMode="gray">
            <a:xfrm>
              <a:off x="925388" y="4799326"/>
              <a:ext cx="118717" cy="124176"/>
            </a:xfrm>
            <a:custGeom>
              <a:avLst/>
              <a:gdLst>
                <a:gd name="connsiteX0" fmla="*/ 376978 w 471319"/>
                <a:gd name="connsiteY0" fmla="*/ 0 h 492993"/>
                <a:gd name="connsiteX1" fmla="*/ 362586 w 471319"/>
                <a:gd name="connsiteY1" fmla="*/ 114 h 492993"/>
                <a:gd name="connsiteX2" fmla="*/ 108915 w 471319"/>
                <a:gd name="connsiteY2" fmla="*/ 114 h 492993"/>
                <a:gd name="connsiteX3" fmla="*/ 94432 w 471319"/>
                <a:gd name="connsiteY3" fmla="*/ 444 h 492993"/>
                <a:gd name="connsiteX4" fmla="*/ 205 w 471319"/>
                <a:gd name="connsiteY4" fmla="*/ 94671 h 492993"/>
                <a:gd name="connsiteX5" fmla="*/ 205 w 471319"/>
                <a:gd name="connsiteY5" fmla="*/ 384214 h 492993"/>
                <a:gd name="connsiteX6" fmla="*/ 0 w 471319"/>
                <a:gd name="connsiteY6" fmla="*/ 398789 h 492993"/>
                <a:gd name="connsiteX7" fmla="*/ 94227 w 471319"/>
                <a:gd name="connsiteY7" fmla="*/ 492993 h 492993"/>
                <a:gd name="connsiteX8" fmla="*/ 108915 w 471319"/>
                <a:gd name="connsiteY8" fmla="*/ 492925 h 492993"/>
                <a:gd name="connsiteX9" fmla="*/ 362586 w 471319"/>
                <a:gd name="connsiteY9" fmla="*/ 492925 h 492993"/>
                <a:gd name="connsiteX10" fmla="*/ 376978 w 471319"/>
                <a:gd name="connsiteY10" fmla="*/ 492993 h 492993"/>
                <a:gd name="connsiteX11" fmla="*/ 471194 w 471319"/>
                <a:gd name="connsiteY11" fmla="*/ 398789 h 492993"/>
                <a:gd name="connsiteX12" fmla="*/ 471308 w 471319"/>
                <a:gd name="connsiteY12" fmla="*/ 384214 h 492993"/>
                <a:gd name="connsiteX13" fmla="*/ 471308 w 471319"/>
                <a:gd name="connsiteY13" fmla="*/ 369833 h 492993"/>
                <a:gd name="connsiteX14" fmla="*/ 348148 w 471319"/>
                <a:gd name="connsiteY14" fmla="*/ 369833 h 492993"/>
                <a:gd name="connsiteX15" fmla="*/ 297416 w 471319"/>
                <a:gd name="connsiteY15" fmla="*/ 420451 h 492993"/>
                <a:gd name="connsiteX16" fmla="*/ 174267 w 471319"/>
                <a:gd name="connsiteY16" fmla="*/ 420451 h 492993"/>
                <a:gd name="connsiteX17" fmla="*/ 123524 w 471319"/>
                <a:gd name="connsiteY17" fmla="*/ 369708 h 492993"/>
                <a:gd name="connsiteX18" fmla="*/ 123410 w 471319"/>
                <a:gd name="connsiteY18" fmla="*/ 362472 h 492993"/>
                <a:gd name="connsiteX19" fmla="*/ 123410 w 471319"/>
                <a:gd name="connsiteY19" fmla="*/ 130567 h 492993"/>
                <a:gd name="connsiteX20" fmla="*/ 123570 w 471319"/>
                <a:gd name="connsiteY20" fmla="*/ 123080 h 492993"/>
                <a:gd name="connsiteX21" fmla="*/ 174313 w 471319"/>
                <a:gd name="connsiteY21" fmla="*/ 72838 h 492993"/>
                <a:gd name="connsiteX22" fmla="*/ 181401 w 471319"/>
                <a:gd name="connsiteY22" fmla="*/ 72599 h 492993"/>
                <a:gd name="connsiteX23" fmla="*/ 290123 w 471319"/>
                <a:gd name="connsiteY23" fmla="*/ 72599 h 492993"/>
                <a:gd name="connsiteX24" fmla="*/ 297428 w 471319"/>
                <a:gd name="connsiteY24" fmla="*/ 72838 h 492993"/>
                <a:gd name="connsiteX25" fmla="*/ 348159 w 471319"/>
                <a:gd name="connsiteY25" fmla="*/ 123422 h 492993"/>
                <a:gd name="connsiteX26" fmla="*/ 471319 w 471319"/>
                <a:gd name="connsiteY26" fmla="*/ 123422 h 492993"/>
                <a:gd name="connsiteX27" fmla="*/ 471319 w 471319"/>
                <a:gd name="connsiteY27" fmla="*/ 108836 h 492993"/>
                <a:gd name="connsiteX28" fmla="*/ 471206 w 471319"/>
                <a:gd name="connsiteY28" fmla="*/ 94239 h 492993"/>
                <a:gd name="connsiteX29" fmla="*/ 376989 w 471319"/>
                <a:gd name="connsiteY29" fmla="*/ 11 h 492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71319" h="492993">
                  <a:moveTo>
                    <a:pt x="376978" y="0"/>
                  </a:moveTo>
                  <a:lnTo>
                    <a:pt x="362586" y="114"/>
                  </a:lnTo>
                  <a:lnTo>
                    <a:pt x="108915" y="114"/>
                  </a:lnTo>
                  <a:lnTo>
                    <a:pt x="94432" y="444"/>
                  </a:lnTo>
                  <a:cubicBezTo>
                    <a:pt x="42403" y="444"/>
                    <a:pt x="205" y="42631"/>
                    <a:pt x="205" y="94671"/>
                  </a:cubicBezTo>
                  <a:lnTo>
                    <a:pt x="205" y="384214"/>
                  </a:lnTo>
                  <a:lnTo>
                    <a:pt x="0" y="398789"/>
                  </a:lnTo>
                  <a:cubicBezTo>
                    <a:pt x="0" y="450817"/>
                    <a:pt x="42187" y="492993"/>
                    <a:pt x="94227" y="492993"/>
                  </a:cubicBezTo>
                  <a:lnTo>
                    <a:pt x="108915" y="492925"/>
                  </a:lnTo>
                  <a:lnTo>
                    <a:pt x="362586" y="492925"/>
                  </a:lnTo>
                  <a:lnTo>
                    <a:pt x="376978" y="492993"/>
                  </a:lnTo>
                  <a:cubicBezTo>
                    <a:pt x="429007" y="492993"/>
                    <a:pt x="471194" y="450817"/>
                    <a:pt x="471194" y="398789"/>
                  </a:cubicBezTo>
                  <a:lnTo>
                    <a:pt x="471308" y="384214"/>
                  </a:lnTo>
                  <a:lnTo>
                    <a:pt x="471308" y="369833"/>
                  </a:lnTo>
                  <a:lnTo>
                    <a:pt x="348148" y="369833"/>
                  </a:lnTo>
                  <a:cubicBezTo>
                    <a:pt x="348080" y="397810"/>
                    <a:pt x="325393" y="420451"/>
                    <a:pt x="297416" y="420451"/>
                  </a:cubicBezTo>
                  <a:lnTo>
                    <a:pt x="174267" y="420451"/>
                  </a:lnTo>
                  <a:cubicBezTo>
                    <a:pt x="146245" y="420451"/>
                    <a:pt x="123524" y="397742"/>
                    <a:pt x="123524" y="369708"/>
                  </a:cubicBezTo>
                  <a:lnTo>
                    <a:pt x="123410" y="362472"/>
                  </a:lnTo>
                  <a:lnTo>
                    <a:pt x="123410" y="130567"/>
                  </a:lnTo>
                  <a:lnTo>
                    <a:pt x="123570" y="123080"/>
                  </a:lnTo>
                  <a:cubicBezTo>
                    <a:pt x="123570" y="95069"/>
                    <a:pt x="146290" y="72838"/>
                    <a:pt x="174313" y="72838"/>
                  </a:cubicBezTo>
                  <a:lnTo>
                    <a:pt x="181401" y="72599"/>
                  </a:lnTo>
                  <a:lnTo>
                    <a:pt x="290123" y="72599"/>
                  </a:lnTo>
                  <a:lnTo>
                    <a:pt x="297428" y="72838"/>
                  </a:lnTo>
                  <a:cubicBezTo>
                    <a:pt x="325393" y="72838"/>
                    <a:pt x="348068" y="95468"/>
                    <a:pt x="348159" y="123422"/>
                  </a:cubicBezTo>
                  <a:lnTo>
                    <a:pt x="471319" y="123422"/>
                  </a:lnTo>
                  <a:lnTo>
                    <a:pt x="471319" y="108836"/>
                  </a:lnTo>
                  <a:lnTo>
                    <a:pt x="471206" y="94239"/>
                  </a:lnTo>
                  <a:cubicBezTo>
                    <a:pt x="471206" y="42210"/>
                    <a:pt x="429018" y="11"/>
                    <a:pt x="376989" y="11"/>
                  </a:cubicBez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2308E376-5813-752E-36D4-8A6E676CDF09}"/>
                </a:ext>
              </a:extLst>
            </p:cNvPr>
            <p:cNvSpPr/>
            <p:nvPr/>
          </p:nvSpPr>
          <p:spPr bwMode="gray">
            <a:xfrm>
              <a:off x="1013066" y="4892449"/>
              <a:ext cx="14" cy="31"/>
            </a:xfrm>
            <a:custGeom>
              <a:avLst/>
              <a:gdLst>
                <a:gd name="connsiteX0" fmla="*/ 0 w 56"/>
                <a:gd name="connsiteY0" fmla="*/ 125 h 125"/>
                <a:gd name="connsiteX1" fmla="*/ 57 w 56"/>
                <a:gd name="connsiteY1" fmla="*/ 125 h 125"/>
                <a:gd name="connsiteX2" fmla="*/ 57 w 56"/>
                <a:gd name="connsiteY2" fmla="*/ 0 h 125"/>
                <a:gd name="connsiteX3" fmla="*/ 0 w 56"/>
                <a:gd name="connsiteY3" fmla="*/ 125 h 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25">
                  <a:moveTo>
                    <a:pt x="0" y="125"/>
                  </a:moveTo>
                  <a:lnTo>
                    <a:pt x="57" y="125"/>
                  </a:lnTo>
                  <a:cubicBezTo>
                    <a:pt x="57" y="125"/>
                    <a:pt x="57" y="46"/>
                    <a:pt x="57" y="0"/>
                  </a:cubicBezTo>
                  <a:lnTo>
                    <a:pt x="0" y="125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519A8CE1-E09A-E234-187C-81BCE826C1A9}"/>
                </a:ext>
              </a:extLst>
            </p:cNvPr>
            <p:cNvSpPr/>
            <p:nvPr/>
          </p:nvSpPr>
          <p:spPr bwMode="gray">
            <a:xfrm>
              <a:off x="1013066" y="4830411"/>
              <a:ext cx="14" cy="37"/>
            </a:xfrm>
            <a:custGeom>
              <a:avLst/>
              <a:gdLst>
                <a:gd name="connsiteX0" fmla="*/ 57 w 56"/>
                <a:gd name="connsiteY0" fmla="*/ 148 h 147"/>
                <a:gd name="connsiteX1" fmla="*/ 57 w 56"/>
                <a:gd name="connsiteY1" fmla="*/ 0 h 147"/>
                <a:gd name="connsiteX2" fmla="*/ 0 w 56"/>
                <a:gd name="connsiteY2" fmla="*/ 0 h 147"/>
                <a:gd name="connsiteX3" fmla="*/ 57 w 56"/>
                <a:gd name="connsiteY3" fmla="*/ 148 h 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47">
                  <a:moveTo>
                    <a:pt x="57" y="148"/>
                  </a:moveTo>
                  <a:cubicBezTo>
                    <a:pt x="57" y="148"/>
                    <a:pt x="57" y="46"/>
                    <a:pt x="57" y="0"/>
                  </a:cubicBezTo>
                  <a:lnTo>
                    <a:pt x="0" y="0"/>
                  </a:lnTo>
                  <a:lnTo>
                    <a:pt x="57" y="148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65F5F085-65D9-670B-CDD4-6476D3929B89}"/>
                </a:ext>
              </a:extLst>
            </p:cNvPr>
            <p:cNvSpPr/>
            <p:nvPr/>
          </p:nvSpPr>
          <p:spPr bwMode="gray">
            <a:xfrm>
              <a:off x="783005" y="4799352"/>
              <a:ext cx="146271" cy="124150"/>
            </a:xfrm>
            <a:custGeom>
              <a:avLst/>
              <a:gdLst>
                <a:gd name="connsiteX0" fmla="*/ 138281 w 580712"/>
                <a:gd name="connsiteY0" fmla="*/ 492880 h 492890"/>
                <a:gd name="connsiteX1" fmla="*/ 183654 w 580712"/>
                <a:gd name="connsiteY1" fmla="*/ 391587 h 492890"/>
                <a:gd name="connsiteX2" fmla="*/ 396820 w 580712"/>
                <a:gd name="connsiteY2" fmla="*/ 391587 h 492890"/>
                <a:gd name="connsiteX3" fmla="*/ 441886 w 580712"/>
                <a:gd name="connsiteY3" fmla="*/ 492754 h 492890"/>
                <a:gd name="connsiteX4" fmla="*/ 580713 w 580712"/>
                <a:gd name="connsiteY4" fmla="*/ 492754 h 492890"/>
                <a:gd name="connsiteX5" fmla="*/ 348523 w 580712"/>
                <a:gd name="connsiteY5" fmla="*/ 0 h 492890"/>
                <a:gd name="connsiteX6" fmla="*/ 232190 w 580712"/>
                <a:gd name="connsiteY6" fmla="*/ 0 h 492890"/>
                <a:gd name="connsiteX7" fmla="*/ 0 w 580712"/>
                <a:gd name="connsiteY7" fmla="*/ 492891 h 492890"/>
                <a:gd name="connsiteX8" fmla="*/ 138269 w 580712"/>
                <a:gd name="connsiteY8" fmla="*/ 492868 h 492890"/>
                <a:gd name="connsiteX9" fmla="*/ 290192 w 580712"/>
                <a:gd name="connsiteY9" fmla="*/ 152229 h 492890"/>
                <a:gd name="connsiteX10" fmla="*/ 364543 w 580712"/>
                <a:gd name="connsiteY10" fmla="*/ 319033 h 492890"/>
                <a:gd name="connsiteX11" fmla="*/ 215522 w 580712"/>
                <a:gd name="connsiteY11" fmla="*/ 319147 h 492890"/>
                <a:gd name="connsiteX12" fmla="*/ 290180 w 580712"/>
                <a:gd name="connsiteY12" fmla="*/ 152229 h 492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0712" h="492890">
                  <a:moveTo>
                    <a:pt x="138281" y="492880"/>
                  </a:moveTo>
                  <a:lnTo>
                    <a:pt x="183654" y="391587"/>
                  </a:lnTo>
                  <a:lnTo>
                    <a:pt x="396820" y="391587"/>
                  </a:lnTo>
                  <a:lnTo>
                    <a:pt x="441886" y="492754"/>
                  </a:lnTo>
                  <a:lnTo>
                    <a:pt x="580713" y="492754"/>
                  </a:lnTo>
                  <a:lnTo>
                    <a:pt x="348523" y="0"/>
                  </a:lnTo>
                  <a:lnTo>
                    <a:pt x="232190" y="0"/>
                  </a:lnTo>
                  <a:lnTo>
                    <a:pt x="0" y="492891"/>
                  </a:lnTo>
                  <a:lnTo>
                    <a:pt x="138269" y="492868"/>
                  </a:lnTo>
                  <a:close/>
                  <a:moveTo>
                    <a:pt x="290192" y="152229"/>
                  </a:moveTo>
                  <a:lnTo>
                    <a:pt x="364543" y="319033"/>
                  </a:lnTo>
                  <a:lnTo>
                    <a:pt x="215522" y="319147"/>
                  </a:lnTo>
                  <a:lnTo>
                    <a:pt x="290180" y="152229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4B8A0EFA-EB32-CEDE-9781-80C34BBF8D04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196801" y="4685083"/>
            <a:ext cx="1370937" cy="113374"/>
            <a:chOff x="1151970" y="4799186"/>
            <a:chExt cx="1510114" cy="124884"/>
          </a:xfrm>
        </p:grpSpPr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71860826-8FB6-5BAD-4119-0FF526BB5A58}"/>
                </a:ext>
              </a:extLst>
            </p:cNvPr>
            <p:cNvSpPr/>
            <p:nvPr/>
          </p:nvSpPr>
          <p:spPr bwMode="gray">
            <a:xfrm>
              <a:off x="2169164" y="4817375"/>
              <a:ext cx="61198" cy="88394"/>
            </a:xfrm>
            <a:custGeom>
              <a:avLst/>
              <a:gdLst>
                <a:gd name="connsiteX0" fmla="*/ 191959 w 242964"/>
                <a:gd name="connsiteY0" fmla="*/ 0 h 350935"/>
                <a:gd name="connsiteX1" fmla="*/ 51028 w 242964"/>
                <a:gd name="connsiteY1" fmla="*/ 0 h 350935"/>
                <a:gd name="connsiteX2" fmla="*/ 0 w 242964"/>
                <a:gd name="connsiteY2" fmla="*/ 51016 h 350935"/>
                <a:gd name="connsiteX3" fmla="*/ 0 w 242964"/>
                <a:gd name="connsiteY3" fmla="*/ 299908 h 350935"/>
                <a:gd name="connsiteX4" fmla="*/ 51028 w 242964"/>
                <a:gd name="connsiteY4" fmla="*/ 350935 h 350935"/>
                <a:gd name="connsiteX5" fmla="*/ 191959 w 242964"/>
                <a:gd name="connsiteY5" fmla="*/ 350935 h 350935"/>
                <a:gd name="connsiteX6" fmla="*/ 242964 w 242964"/>
                <a:gd name="connsiteY6" fmla="*/ 299908 h 350935"/>
                <a:gd name="connsiteX7" fmla="*/ 242964 w 242964"/>
                <a:gd name="connsiteY7" fmla="*/ 51028 h 350935"/>
                <a:gd name="connsiteX8" fmla="*/ 191959 w 242964"/>
                <a:gd name="connsiteY8" fmla="*/ 0 h 35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964" h="350935">
                  <a:moveTo>
                    <a:pt x="191959" y="0"/>
                  </a:moveTo>
                  <a:lnTo>
                    <a:pt x="51028" y="0"/>
                  </a:lnTo>
                  <a:cubicBezTo>
                    <a:pt x="22858" y="0"/>
                    <a:pt x="0" y="22846"/>
                    <a:pt x="0" y="51016"/>
                  </a:cubicBezTo>
                  <a:lnTo>
                    <a:pt x="0" y="299908"/>
                  </a:lnTo>
                  <a:cubicBezTo>
                    <a:pt x="0" y="328078"/>
                    <a:pt x="22858" y="350935"/>
                    <a:pt x="51028" y="350935"/>
                  </a:cubicBezTo>
                  <a:lnTo>
                    <a:pt x="191959" y="350935"/>
                  </a:lnTo>
                  <a:cubicBezTo>
                    <a:pt x="220130" y="350935"/>
                    <a:pt x="242964" y="328078"/>
                    <a:pt x="242964" y="299908"/>
                  </a:cubicBezTo>
                  <a:lnTo>
                    <a:pt x="242964" y="51028"/>
                  </a:lnTo>
                  <a:cubicBezTo>
                    <a:pt x="242964" y="22846"/>
                    <a:pt x="220130" y="0"/>
                    <a:pt x="191959" y="0"/>
                  </a:cubicBezTo>
                  <a:close/>
                </a:path>
              </a:pathLst>
            </a:custGeom>
            <a:noFill/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DE495278-A071-DDAD-C0D9-582C17C7937E}"/>
                </a:ext>
              </a:extLst>
            </p:cNvPr>
            <p:cNvSpPr/>
            <p:nvPr/>
          </p:nvSpPr>
          <p:spPr bwMode="gray">
            <a:xfrm>
              <a:off x="2281806" y="4799240"/>
              <a:ext cx="123076" cy="124658"/>
            </a:xfrm>
            <a:custGeom>
              <a:avLst/>
              <a:gdLst>
                <a:gd name="connsiteX0" fmla="*/ 370140 w 488624"/>
                <a:gd name="connsiteY0" fmla="*/ 11 h 494904"/>
                <a:gd name="connsiteX1" fmla="*/ 370140 w 488624"/>
                <a:gd name="connsiteY1" fmla="*/ 313424 h 494904"/>
                <a:gd name="connsiteX2" fmla="*/ 146120 w 488624"/>
                <a:gd name="connsiteY2" fmla="*/ 11 h 494904"/>
                <a:gd name="connsiteX3" fmla="*/ 637 w 488624"/>
                <a:gd name="connsiteY3" fmla="*/ 11 h 494904"/>
                <a:gd name="connsiteX4" fmla="*/ 0 w 488624"/>
                <a:gd name="connsiteY4" fmla="*/ 494905 h 494904"/>
                <a:gd name="connsiteX5" fmla="*/ 131705 w 488624"/>
                <a:gd name="connsiteY5" fmla="*/ 494882 h 494904"/>
                <a:gd name="connsiteX6" fmla="*/ 131068 w 488624"/>
                <a:gd name="connsiteY6" fmla="*/ 199514 h 494904"/>
                <a:gd name="connsiteX7" fmla="*/ 352153 w 488624"/>
                <a:gd name="connsiteY7" fmla="*/ 494882 h 494904"/>
                <a:gd name="connsiteX8" fmla="*/ 488625 w 488624"/>
                <a:gd name="connsiteY8" fmla="*/ 494882 h 494904"/>
                <a:gd name="connsiteX9" fmla="*/ 487942 w 488624"/>
                <a:gd name="connsiteY9" fmla="*/ 0 h 494904"/>
                <a:gd name="connsiteX10" fmla="*/ 370152 w 488624"/>
                <a:gd name="connsiteY10" fmla="*/ 0 h 494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624" h="494904">
                  <a:moveTo>
                    <a:pt x="370140" y="11"/>
                  </a:moveTo>
                  <a:lnTo>
                    <a:pt x="370140" y="313424"/>
                  </a:lnTo>
                  <a:cubicBezTo>
                    <a:pt x="303162" y="211824"/>
                    <a:pt x="213099" y="101634"/>
                    <a:pt x="146120" y="11"/>
                  </a:cubicBezTo>
                  <a:lnTo>
                    <a:pt x="637" y="11"/>
                  </a:lnTo>
                  <a:lnTo>
                    <a:pt x="0" y="494905"/>
                  </a:lnTo>
                  <a:lnTo>
                    <a:pt x="131705" y="494882"/>
                  </a:lnTo>
                  <a:lnTo>
                    <a:pt x="131068" y="199514"/>
                  </a:lnTo>
                  <a:lnTo>
                    <a:pt x="352153" y="494882"/>
                  </a:lnTo>
                  <a:lnTo>
                    <a:pt x="488625" y="494882"/>
                  </a:lnTo>
                  <a:lnTo>
                    <a:pt x="487942" y="0"/>
                  </a:lnTo>
                  <a:lnTo>
                    <a:pt x="370152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4A243D6C-4763-19CE-A823-D604428190CF}"/>
                </a:ext>
              </a:extLst>
            </p:cNvPr>
            <p:cNvSpPr/>
            <p:nvPr/>
          </p:nvSpPr>
          <p:spPr bwMode="gray">
            <a:xfrm>
              <a:off x="1966345" y="4799243"/>
              <a:ext cx="108782" cy="124649"/>
            </a:xfrm>
            <a:custGeom>
              <a:avLst/>
              <a:gdLst>
                <a:gd name="connsiteX0" fmla="*/ 0 w 431874"/>
                <a:gd name="connsiteY0" fmla="*/ 66979 h 494870"/>
                <a:gd name="connsiteX1" fmla="*/ 157350 w 431874"/>
                <a:gd name="connsiteY1" fmla="*/ 67479 h 494870"/>
                <a:gd name="connsiteX2" fmla="*/ 157053 w 431874"/>
                <a:gd name="connsiteY2" fmla="*/ 494233 h 494870"/>
                <a:gd name="connsiteX3" fmla="*/ 277313 w 431874"/>
                <a:gd name="connsiteY3" fmla="*/ 494871 h 494870"/>
                <a:gd name="connsiteX4" fmla="*/ 277130 w 431874"/>
                <a:gd name="connsiteY4" fmla="*/ 66979 h 494870"/>
                <a:gd name="connsiteX5" fmla="*/ 431874 w 431874"/>
                <a:gd name="connsiteY5" fmla="*/ 66979 h 494870"/>
                <a:gd name="connsiteX6" fmla="*/ 431874 w 431874"/>
                <a:gd name="connsiteY6" fmla="*/ 0 h 494870"/>
                <a:gd name="connsiteX7" fmla="*/ 0 w 431874"/>
                <a:gd name="connsiteY7" fmla="*/ 0 h 494870"/>
                <a:gd name="connsiteX8" fmla="*/ 0 w 431874"/>
                <a:gd name="connsiteY8" fmla="*/ 66979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1874" h="494870">
                  <a:moveTo>
                    <a:pt x="0" y="66979"/>
                  </a:moveTo>
                  <a:lnTo>
                    <a:pt x="157350" y="67479"/>
                  </a:lnTo>
                  <a:lnTo>
                    <a:pt x="157053" y="494233"/>
                  </a:lnTo>
                  <a:lnTo>
                    <a:pt x="277313" y="494871"/>
                  </a:lnTo>
                  <a:lnTo>
                    <a:pt x="277130" y="66979"/>
                  </a:lnTo>
                  <a:lnTo>
                    <a:pt x="431874" y="66979"/>
                  </a:lnTo>
                  <a:lnTo>
                    <a:pt x="431874" y="0"/>
                  </a:lnTo>
                  <a:lnTo>
                    <a:pt x="0" y="0"/>
                  </a:lnTo>
                  <a:lnTo>
                    <a:pt x="0" y="66979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2D064AC8-F809-C075-7F38-44B2244C2229}"/>
                </a:ext>
              </a:extLst>
            </p:cNvPr>
            <p:cNvSpPr/>
            <p:nvPr/>
          </p:nvSpPr>
          <p:spPr bwMode="gray">
            <a:xfrm>
              <a:off x="1718399" y="4799186"/>
              <a:ext cx="123041" cy="124709"/>
            </a:xfrm>
            <a:custGeom>
              <a:avLst/>
              <a:gdLst>
                <a:gd name="connsiteX0" fmla="*/ 369844 w 488487"/>
                <a:gd name="connsiteY0" fmla="*/ 313413 h 495109"/>
                <a:gd name="connsiteX1" fmla="*/ 145824 w 488487"/>
                <a:gd name="connsiteY1" fmla="*/ 0 h 495109"/>
                <a:gd name="connsiteX2" fmla="*/ 318 w 488487"/>
                <a:gd name="connsiteY2" fmla="*/ 0 h 495109"/>
                <a:gd name="connsiteX3" fmla="*/ 0 w 488487"/>
                <a:gd name="connsiteY3" fmla="*/ 495109 h 495109"/>
                <a:gd name="connsiteX4" fmla="*/ 130157 w 488487"/>
                <a:gd name="connsiteY4" fmla="*/ 494882 h 495109"/>
                <a:gd name="connsiteX5" fmla="*/ 130783 w 488487"/>
                <a:gd name="connsiteY5" fmla="*/ 199514 h 495109"/>
                <a:gd name="connsiteX6" fmla="*/ 351868 w 488487"/>
                <a:gd name="connsiteY6" fmla="*/ 494882 h 495109"/>
                <a:gd name="connsiteX7" fmla="*/ 488328 w 488487"/>
                <a:gd name="connsiteY7" fmla="*/ 494882 h 495109"/>
                <a:gd name="connsiteX8" fmla="*/ 488488 w 488487"/>
                <a:gd name="connsiteY8" fmla="*/ 0 h 495109"/>
                <a:gd name="connsiteX9" fmla="*/ 369844 w 488487"/>
                <a:gd name="connsiteY9" fmla="*/ 0 h 495109"/>
                <a:gd name="connsiteX10" fmla="*/ 369844 w 488487"/>
                <a:gd name="connsiteY10" fmla="*/ 313413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487" h="495109">
                  <a:moveTo>
                    <a:pt x="369844" y="313413"/>
                  </a:moveTo>
                  <a:cubicBezTo>
                    <a:pt x="302866" y="211813"/>
                    <a:pt x="212803" y="101623"/>
                    <a:pt x="145824" y="0"/>
                  </a:cubicBezTo>
                  <a:lnTo>
                    <a:pt x="318" y="0"/>
                  </a:lnTo>
                  <a:lnTo>
                    <a:pt x="0" y="495109"/>
                  </a:lnTo>
                  <a:lnTo>
                    <a:pt x="130157" y="494882"/>
                  </a:lnTo>
                  <a:lnTo>
                    <a:pt x="130783" y="199514"/>
                  </a:lnTo>
                  <a:lnTo>
                    <a:pt x="351868" y="494882"/>
                  </a:lnTo>
                  <a:lnTo>
                    <a:pt x="488328" y="494882"/>
                  </a:lnTo>
                  <a:lnTo>
                    <a:pt x="488488" y="0"/>
                  </a:lnTo>
                  <a:lnTo>
                    <a:pt x="369844" y="0"/>
                  </a:lnTo>
                  <a:lnTo>
                    <a:pt x="369844" y="31341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1D41F0A-3AC9-DFB9-75E7-6982C85D92BB}"/>
                </a:ext>
              </a:extLst>
            </p:cNvPr>
            <p:cNvSpPr/>
            <p:nvPr/>
          </p:nvSpPr>
          <p:spPr bwMode="gray">
            <a:xfrm>
              <a:off x="2561447" y="4799243"/>
              <a:ext cx="100637" cy="124827"/>
            </a:xfrm>
            <a:custGeom>
              <a:avLst/>
              <a:gdLst>
                <a:gd name="connsiteX0" fmla="*/ 121328 w 399539"/>
                <a:gd name="connsiteY0" fmla="*/ 428893 h 495575"/>
                <a:gd name="connsiteX1" fmla="*/ 121328 w 399539"/>
                <a:gd name="connsiteY1" fmla="*/ 0 h 495575"/>
                <a:gd name="connsiteX2" fmla="*/ 1229 w 399539"/>
                <a:gd name="connsiteY2" fmla="*/ 0 h 495575"/>
                <a:gd name="connsiteX3" fmla="*/ 0 w 399539"/>
                <a:gd name="connsiteY3" fmla="*/ 495576 h 495575"/>
                <a:gd name="connsiteX4" fmla="*/ 399539 w 399539"/>
                <a:gd name="connsiteY4" fmla="*/ 495576 h 495575"/>
                <a:gd name="connsiteX5" fmla="*/ 399539 w 399539"/>
                <a:gd name="connsiteY5" fmla="*/ 428597 h 495575"/>
                <a:gd name="connsiteX6" fmla="*/ 121328 w 399539"/>
                <a:gd name="connsiteY6" fmla="*/ 428893 h 49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9539" h="495575">
                  <a:moveTo>
                    <a:pt x="121328" y="428893"/>
                  </a:moveTo>
                  <a:lnTo>
                    <a:pt x="121328" y="0"/>
                  </a:lnTo>
                  <a:lnTo>
                    <a:pt x="1229" y="0"/>
                  </a:lnTo>
                  <a:lnTo>
                    <a:pt x="0" y="495576"/>
                  </a:lnTo>
                  <a:lnTo>
                    <a:pt x="399539" y="495576"/>
                  </a:lnTo>
                  <a:lnTo>
                    <a:pt x="399539" y="428597"/>
                  </a:lnTo>
                  <a:lnTo>
                    <a:pt x="121328" y="42889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DBE817F6-8BA3-9EF3-7C70-CE4A2B70F050}"/>
                </a:ext>
              </a:extLst>
            </p:cNvPr>
            <p:cNvSpPr/>
            <p:nvPr/>
          </p:nvSpPr>
          <p:spPr bwMode="gray">
            <a:xfrm>
              <a:off x="1336379" y="4799243"/>
              <a:ext cx="108784" cy="124649"/>
            </a:xfrm>
            <a:custGeom>
              <a:avLst/>
              <a:gdLst>
                <a:gd name="connsiteX0" fmla="*/ 0 w 431885"/>
                <a:gd name="connsiteY0" fmla="*/ 66979 h 494870"/>
                <a:gd name="connsiteX1" fmla="*/ 157349 w 431885"/>
                <a:gd name="connsiteY1" fmla="*/ 67479 h 494870"/>
                <a:gd name="connsiteX2" fmla="*/ 157042 w 431885"/>
                <a:gd name="connsiteY2" fmla="*/ 494233 h 494870"/>
                <a:gd name="connsiteX3" fmla="*/ 277324 w 431885"/>
                <a:gd name="connsiteY3" fmla="*/ 494871 h 494870"/>
                <a:gd name="connsiteX4" fmla="*/ 277153 w 431885"/>
                <a:gd name="connsiteY4" fmla="*/ 66979 h 494870"/>
                <a:gd name="connsiteX5" fmla="*/ 431885 w 431885"/>
                <a:gd name="connsiteY5" fmla="*/ 66979 h 494870"/>
                <a:gd name="connsiteX6" fmla="*/ 431885 w 431885"/>
                <a:gd name="connsiteY6" fmla="*/ 0 h 494870"/>
                <a:gd name="connsiteX7" fmla="*/ 0 w 431885"/>
                <a:gd name="connsiteY7" fmla="*/ 0 h 494870"/>
                <a:gd name="connsiteX8" fmla="*/ 0 w 431885"/>
                <a:gd name="connsiteY8" fmla="*/ 66979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1885" h="494870">
                  <a:moveTo>
                    <a:pt x="0" y="66979"/>
                  </a:moveTo>
                  <a:lnTo>
                    <a:pt x="157349" y="67479"/>
                  </a:lnTo>
                  <a:lnTo>
                    <a:pt x="157042" y="494233"/>
                  </a:lnTo>
                  <a:lnTo>
                    <a:pt x="277324" y="494871"/>
                  </a:lnTo>
                  <a:lnTo>
                    <a:pt x="277153" y="66979"/>
                  </a:lnTo>
                  <a:lnTo>
                    <a:pt x="431885" y="66979"/>
                  </a:lnTo>
                  <a:lnTo>
                    <a:pt x="431885" y="0"/>
                  </a:lnTo>
                  <a:lnTo>
                    <a:pt x="0" y="0"/>
                  </a:lnTo>
                  <a:lnTo>
                    <a:pt x="0" y="66979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4EF86D15-3AE9-6DBD-C584-539441A4C0B0}"/>
                </a:ext>
              </a:extLst>
            </p:cNvPr>
            <p:cNvSpPr/>
            <p:nvPr/>
          </p:nvSpPr>
          <p:spPr bwMode="gray">
            <a:xfrm>
              <a:off x="1457377" y="4799243"/>
              <a:ext cx="107039" cy="124489"/>
            </a:xfrm>
            <a:custGeom>
              <a:avLst/>
              <a:gdLst>
                <a:gd name="connsiteX0" fmla="*/ 0 w 424956"/>
                <a:gd name="connsiteY0" fmla="*/ 494233 h 494233"/>
                <a:gd name="connsiteX1" fmla="*/ 424956 w 424956"/>
                <a:gd name="connsiteY1" fmla="*/ 494233 h 494233"/>
                <a:gd name="connsiteX2" fmla="*/ 424956 w 424956"/>
                <a:gd name="connsiteY2" fmla="*/ 429564 h 494233"/>
                <a:gd name="connsiteX3" fmla="*/ 125379 w 424956"/>
                <a:gd name="connsiteY3" fmla="*/ 428893 h 494233"/>
                <a:gd name="connsiteX4" fmla="*/ 124730 w 424956"/>
                <a:gd name="connsiteY4" fmla="*/ 284048 h 494233"/>
                <a:gd name="connsiteX5" fmla="*/ 374156 w 424956"/>
                <a:gd name="connsiteY5" fmla="*/ 284048 h 494233"/>
                <a:gd name="connsiteX6" fmla="*/ 374156 w 424956"/>
                <a:gd name="connsiteY6" fmla="*/ 212473 h 494233"/>
                <a:gd name="connsiteX7" fmla="*/ 125379 w 424956"/>
                <a:gd name="connsiteY7" fmla="*/ 212962 h 494233"/>
                <a:gd name="connsiteX8" fmla="*/ 124730 w 424956"/>
                <a:gd name="connsiteY8" fmla="*/ 66979 h 494233"/>
                <a:gd name="connsiteX9" fmla="*/ 424956 w 424956"/>
                <a:gd name="connsiteY9" fmla="*/ 66979 h 494233"/>
                <a:gd name="connsiteX10" fmla="*/ 424956 w 424956"/>
                <a:gd name="connsiteY10" fmla="*/ 0 h 494233"/>
                <a:gd name="connsiteX11" fmla="*/ 0 w 424956"/>
                <a:gd name="connsiteY11" fmla="*/ 0 h 494233"/>
                <a:gd name="connsiteX12" fmla="*/ 0 w 424956"/>
                <a:gd name="connsiteY12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4956" h="494233">
                  <a:moveTo>
                    <a:pt x="0" y="494233"/>
                  </a:moveTo>
                  <a:lnTo>
                    <a:pt x="424956" y="494233"/>
                  </a:lnTo>
                  <a:lnTo>
                    <a:pt x="424956" y="429564"/>
                  </a:lnTo>
                  <a:lnTo>
                    <a:pt x="125379" y="428893"/>
                  </a:lnTo>
                  <a:lnTo>
                    <a:pt x="124730" y="284048"/>
                  </a:lnTo>
                  <a:lnTo>
                    <a:pt x="374156" y="284048"/>
                  </a:lnTo>
                  <a:lnTo>
                    <a:pt x="374156" y="212473"/>
                  </a:lnTo>
                  <a:lnTo>
                    <a:pt x="125379" y="212962"/>
                  </a:lnTo>
                  <a:lnTo>
                    <a:pt x="124730" y="66979"/>
                  </a:lnTo>
                  <a:lnTo>
                    <a:pt x="424956" y="66979"/>
                  </a:lnTo>
                  <a:lnTo>
                    <a:pt x="424956" y="0"/>
                  </a:lnTo>
                  <a:lnTo>
                    <a:pt x="0" y="0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F264480F-786D-836C-3F1D-A15D51929E1D}"/>
                </a:ext>
              </a:extLst>
            </p:cNvPr>
            <p:cNvSpPr/>
            <p:nvPr/>
          </p:nvSpPr>
          <p:spPr bwMode="gray">
            <a:xfrm>
              <a:off x="1151970" y="4799469"/>
              <a:ext cx="29087" cy="124489"/>
            </a:xfrm>
            <a:custGeom>
              <a:avLst/>
              <a:gdLst>
                <a:gd name="connsiteX0" fmla="*/ 0 w 115480"/>
                <a:gd name="connsiteY0" fmla="*/ 0 h 494233"/>
                <a:gd name="connsiteX1" fmla="*/ 115480 w 115480"/>
                <a:gd name="connsiteY1" fmla="*/ 0 h 494233"/>
                <a:gd name="connsiteX2" fmla="*/ 115480 w 115480"/>
                <a:gd name="connsiteY2" fmla="*/ 494233 h 494233"/>
                <a:gd name="connsiteX3" fmla="*/ 0 w 115480"/>
                <a:gd name="connsiteY3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480" h="494233">
                  <a:moveTo>
                    <a:pt x="0" y="0"/>
                  </a:moveTo>
                  <a:lnTo>
                    <a:pt x="115480" y="0"/>
                  </a:lnTo>
                  <a:lnTo>
                    <a:pt x="115480" y="494233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DB02FFCB-7B8F-AC90-16CF-843F05AB5DEB}"/>
                </a:ext>
              </a:extLst>
            </p:cNvPr>
            <p:cNvSpPr/>
            <p:nvPr/>
          </p:nvSpPr>
          <p:spPr bwMode="gray">
            <a:xfrm>
              <a:off x="1201556" y="4799240"/>
              <a:ext cx="123079" cy="124658"/>
            </a:xfrm>
            <a:custGeom>
              <a:avLst/>
              <a:gdLst>
                <a:gd name="connsiteX0" fmla="*/ 370163 w 488635"/>
                <a:gd name="connsiteY0" fmla="*/ 11 h 494904"/>
                <a:gd name="connsiteX1" fmla="*/ 370163 w 488635"/>
                <a:gd name="connsiteY1" fmla="*/ 313424 h 494904"/>
                <a:gd name="connsiteX2" fmla="*/ 146142 w 488635"/>
                <a:gd name="connsiteY2" fmla="*/ 11 h 494904"/>
                <a:gd name="connsiteX3" fmla="*/ 637 w 488635"/>
                <a:gd name="connsiteY3" fmla="*/ 11 h 494904"/>
                <a:gd name="connsiteX4" fmla="*/ 0 w 488635"/>
                <a:gd name="connsiteY4" fmla="*/ 494905 h 494904"/>
                <a:gd name="connsiteX5" fmla="*/ 131716 w 488635"/>
                <a:gd name="connsiteY5" fmla="*/ 494882 h 494904"/>
                <a:gd name="connsiteX6" fmla="*/ 131079 w 488635"/>
                <a:gd name="connsiteY6" fmla="*/ 199514 h 494904"/>
                <a:gd name="connsiteX7" fmla="*/ 352164 w 488635"/>
                <a:gd name="connsiteY7" fmla="*/ 494882 h 494904"/>
                <a:gd name="connsiteX8" fmla="*/ 488636 w 488635"/>
                <a:gd name="connsiteY8" fmla="*/ 494882 h 494904"/>
                <a:gd name="connsiteX9" fmla="*/ 487942 w 488635"/>
                <a:gd name="connsiteY9" fmla="*/ 0 h 494904"/>
                <a:gd name="connsiteX10" fmla="*/ 370152 w 488635"/>
                <a:gd name="connsiteY10" fmla="*/ 0 h 494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635" h="494904">
                  <a:moveTo>
                    <a:pt x="370163" y="11"/>
                  </a:moveTo>
                  <a:lnTo>
                    <a:pt x="370163" y="313424"/>
                  </a:lnTo>
                  <a:cubicBezTo>
                    <a:pt x="303196" y="211824"/>
                    <a:pt x="213121" y="101634"/>
                    <a:pt x="146142" y="11"/>
                  </a:cubicBezTo>
                  <a:lnTo>
                    <a:pt x="637" y="11"/>
                  </a:lnTo>
                  <a:lnTo>
                    <a:pt x="0" y="494905"/>
                  </a:lnTo>
                  <a:lnTo>
                    <a:pt x="131716" y="494882"/>
                  </a:lnTo>
                  <a:lnTo>
                    <a:pt x="131079" y="199514"/>
                  </a:lnTo>
                  <a:lnTo>
                    <a:pt x="352164" y="494882"/>
                  </a:lnTo>
                  <a:lnTo>
                    <a:pt x="488636" y="494882"/>
                  </a:lnTo>
                  <a:lnTo>
                    <a:pt x="487942" y="0"/>
                  </a:lnTo>
                  <a:lnTo>
                    <a:pt x="370152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7C9BD889-59A9-932C-DC93-F814CA7606B3}"/>
                </a:ext>
              </a:extLst>
            </p:cNvPr>
            <p:cNvSpPr/>
            <p:nvPr/>
          </p:nvSpPr>
          <p:spPr bwMode="gray">
            <a:xfrm>
              <a:off x="2085942" y="4799469"/>
              <a:ext cx="31414" cy="124489"/>
            </a:xfrm>
            <a:custGeom>
              <a:avLst/>
              <a:gdLst>
                <a:gd name="connsiteX0" fmla="*/ 0 w 124718"/>
                <a:gd name="connsiteY0" fmla="*/ 0 h 494233"/>
                <a:gd name="connsiteX1" fmla="*/ 124719 w 124718"/>
                <a:gd name="connsiteY1" fmla="*/ 0 h 494233"/>
                <a:gd name="connsiteX2" fmla="*/ 124719 w 124718"/>
                <a:gd name="connsiteY2" fmla="*/ 494233 h 494233"/>
                <a:gd name="connsiteX3" fmla="*/ 0 w 124718"/>
                <a:gd name="connsiteY3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18" h="494233">
                  <a:moveTo>
                    <a:pt x="0" y="0"/>
                  </a:moveTo>
                  <a:lnTo>
                    <a:pt x="124719" y="0"/>
                  </a:lnTo>
                  <a:lnTo>
                    <a:pt x="124719" y="494233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D2B72A59-8F80-13B3-5BFF-C3FD5D869766}"/>
                </a:ext>
              </a:extLst>
            </p:cNvPr>
            <p:cNvSpPr/>
            <p:nvPr/>
          </p:nvSpPr>
          <p:spPr bwMode="gray">
            <a:xfrm>
              <a:off x="1580123" y="4799467"/>
              <a:ext cx="126819" cy="124489"/>
            </a:xfrm>
            <a:custGeom>
              <a:avLst/>
              <a:gdLst>
                <a:gd name="connsiteX0" fmla="*/ 387866 w 503483"/>
                <a:gd name="connsiteY0" fmla="*/ 275048 h 494233"/>
                <a:gd name="connsiteX1" fmla="*/ 489899 w 503483"/>
                <a:gd name="connsiteY1" fmla="*/ 173027 h 494233"/>
                <a:gd name="connsiteX2" fmla="*/ 489899 w 503483"/>
                <a:gd name="connsiteY2" fmla="*/ 102032 h 494233"/>
                <a:gd name="connsiteX3" fmla="*/ 387866 w 503483"/>
                <a:gd name="connsiteY3" fmla="*/ 0 h 494233"/>
                <a:gd name="connsiteX4" fmla="*/ 0 w 503483"/>
                <a:gd name="connsiteY4" fmla="*/ 0 h 494233"/>
                <a:gd name="connsiteX5" fmla="*/ 0 w 503483"/>
                <a:gd name="connsiteY5" fmla="*/ 494233 h 494233"/>
                <a:gd name="connsiteX6" fmla="*/ 134458 w 503483"/>
                <a:gd name="connsiteY6" fmla="*/ 493983 h 494233"/>
                <a:gd name="connsiteX7" fmla="*/ 133958 w 503483"/>
                <a:gd name="connsiteY7" fmla="*/ 274832 h 494233"/>
                <a:gd name="connsiteX8" fmla="*/ 198626 w 503483"/>
                <a:gd name="connsiteY8" fmla="*/ 274832 h 494233"/>
                <a:gd name="connsiteX9" fmla="*/ 357989 w 503483"/>
                <a:gd name="connsiteY9" fmla="*/ 494233 h 494233"/>
                <a:gd name="connsiteX10" fmla="*/ 503484 w 503483"/>
                <a:gd name="connsiteY10" fmla="*/ 494006 h 494233"/>
                <a:gd name="connsiteX11" fmla="*/ 345930 w 503483"/>
                <a:gd name="connsiteY11" fmla="*/ 275048 h 494233"/>
                <a:gd name="connsiteX12" fmla="*/ 387878 w 503483"/>
                <a:gd name="connsiteY12" fmla="*/ 275048 h 494233"/>
                <a:gd name="connsiteX13" fmla="*/ 135494 w 503483"/>
                <a:gd name="connsiteY13" fmla="*/ 204577 h 494233"/>
                <a:gd name="connsiteX14" fmla="*/ 135971 w 503483"/>
                <a:gd name="connsiteY14" fmla="*/ 64100 h 494233"/>
                <a:gd name="connsiteX15" fmla="*/ 315905 w 503483"/>
                <a:gd name="connsiteY15" fmla="*/ 64100 h 494233"/>
                <a:gd name="connsiteX16" fmla="*/ 366932 w 503483"/>
                <a:gd name="connsiteY16" fmla="*/ 115116 h 494233"/>
                <a:gd name="connsiteX17" fmla="*/ 366932 w 503483"/>
                <a:gd name="connsiteY17" fmla="*/ 153572 h 494233"/>
                <a:gd name="connsiteX18" fmla="*/ 315905 w 503483"/>
                <a:gd name="connsiteY18" fmla="*/ 204588 h 494233"/>
                <a:gd name="connsiteX19" fmla="*/ 135482 w 503483"/>
                <a:gd name="connsiteY19" fmla="*/ 204588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3483" h="494233">
                  <a:moveTo>
                    <a:pt x="387866" y="275048"/>
                  </a:moveTo>
                  <a:cubicBezTo>
                    <a:pt x="444196" y="275048"/>
                    <a:pt x="489899" y="229379"/>
                    <a:pt x="489899" y="173027"/>
                  </a:cubicBezTo>
                  <a:lnTo>
                    <a:pt x="489899" y="102032"/>
                  </a:lnTo>
                  <a:cubicBezTo>
                    <a:pt x="489899" y="45680"/>
                    <a:pt x="444207" y="0"/>
                    <a:pt x="387866" y="0"/>
                  </a:cubicBezTo>
                  <a:lnTo>
                    <a:pt x="0" y="0"/>
                  </a:lnTo>
                  <a:lnTo>
                    <a:pt x="0" y="494233"/>
                  </a:lnTo>
                  <a:lnTo>
                    <a:pt x="134458" y="493983"/>
                  </a:lnTo>
                  <a:lnTo>
                    <a:pt x="133958" y="274832"/>
                  </a:lnTo>
                  <a:lnTo>
                    <a:pt x="198626" y="274832"/>
                  </a:lnTo>
                  <a:lnTo>
                    <a:pt x="357989" y="494233"/>
                  </a:lnTo>
                  <a:lnTo>
                    <a:pt x="503484" y="494006"/>
                  </a:lnTo>
                  <a:lnTo>
                    <a:pt x="345930" y="275048"/>
                  </a:lnTo>
                  <a:lnTo>
                    <a:pt x="387878" y="275048"/>
                  </a:lnTo>
                  <a:close/>
                  <a:moveTo>
                    <a:pt x="135494" y="204577"/>
                  </a:moveTo>
                  <a:lnTo>
                    <a:pt x="135971" y="64100"/>
                  </a:lnTo>
                  <a:lnTo>
                    <a:pt x="315905" y="64100"/>
                  </a:lnTo>
                  <a:cubicBezTo>
                    <a:pt x="344064" y="64100"/>
                    <a:pt x="366932" y="86946"/>
                    <a:pt x="366932" y="115116"/>
                  </a:cubicBezTo>
                  <a:lnTo>
                    <a:pt x="366932" y="153572"/>
                  </a:lnTo>
                  <a:cubicBezTo>
                    <a:pt x="366932" y="181742"/>
                    <a:pt x="344075" y="204588"/>
                    <a:pt x="315905" y="204588"/>
                  </a:cubicBezTo>
                  <a:lnTo>
                    <a:pt x="135482" y="204588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D7693826-6D4B-1014-0239-FB6B5585A741}"/>
                </a:ext>
              </a:extLst>
            </p:cNvPr>
            <p:cNvSpPr/>
            <p:nvPr/>
          </p:nvSpPr>
          <p:spPr bwMode="gray">
            <a:xfrm>
              <a:off x="2137440" y="4799243"/>
              <a:ext cx="124652" cy="124649"/>
            </a:xfrm>
            <a:custGeom>
              <a:avLst/>
              <a:gdLst>
                <a:gd name="connsiteX0" fmla="*/ 392861 w 494881"/>
                <a:gd name="connsiteY0" fmla="*/ 0 h 494870"/>
                <a:gd name="connsiteX1" fmla="*/ 102021 w 494881"/>
                <a:gd name="connsiteY1" fmla="*/ 0 h 494870"/>
                <a:gd name="connsiteX2" fmla="*/ 0 w 494881"/>
                <a:gd name="connsiteY2" fmla="*/ 102021 h 494870"/>
                <a:gd name="connsiteX3" fmla="*/ 0 w 494881"/>
                <a:gd name="connsiteY3" fmla="*/ 392850 h 494870"/>
                <a:gd name="connsiteX4" fmla="*/ 102021 w 494881"/>
                <a:gd name="connsiteY4" fmla="*/ 494871 h 494870"/>
                <a:gd name="connsiteX5" fmla="*/ 392861 w 494881"/>
                <a:gd name="connsiteY5" fmla="*/ 494871 h 494870"/>
                <a:gd name="connsiteX6" fmla="*/ 494882 w 494881"/>
                <a:gd name="connsiteY6" fmla="*/ 392850 h 494870"/>
                <a:gd name="connsiteX7" fmla="*/ 494882 w 494881"/>
                <a:gd name="connsiteY7" fmla="*/ 102032 h 494870"/>
                <a:gd name="connsiteX8" fmla="*/ 392861 w 494881"/>
                <a:gd name="connsiteY8" fmla="*/ 0 h 494870"/>
                <a:gd name="connsiteX9" fmla="*/ 368912 w 494881"/>
                <a:gd name="connsiteY9" fmla="*/ 371892 h 494870"/>
                <a:gd name="connsiteX10" fmla="*/ 317907 w 494881"/>
                <a:gd name="connsiteY10" fmla="*/ 422920 h 494870"/>
                <a:gd name="connsiteX11" fmla="*/ 176975 w 494881"/>
                <a:gd name="connsiteY11" fmla="*/ 422920 h 494870"/>
                <a:gd name="connsiteX12" fmla="*/ 125947 w 494881"/>
                <a:gd name="connsiteY12" fmla="*/ 371892 h 494870"/>
                <a:gd name="connsiteX13" fmla="*/ 125947 w 494881"/>
                <a:gd name="connsiteY13" fmla="*/ 123001 h 494870"/>
                <a:gd name="connsiteX14" fmla="*/ 176975 w 494881"/>
                <a:gd name="connsiteY14" fmla="*/ 71985 h 494870"/>
                <a:gd name="connsiteX15" fmla="*/ 317907 w 494881"/>
                <a:gd name="connsiteY15" fmla="*/ 71985 h 494870"/>
                <a:gd name="connsiteX16" fmla="*/ 368912 w 494881"/>
                <a:gd name="connsiteY16" fmla="*/ 123012 h 494870"/>
                <a:gd name="connsiteX17" fmla="*/ 368912 w 494881"/>
                <a:gd name="connsiteY17" fmla="*/ 371892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4881" h="494870">
                  <a:moveTo>
                    <a:pt x="392861" y="0"/>
                  </a:moveTo>
                  <a:lnTo>
                    <a:pt x="102021" y="0"/>
                  </a:lnTo>
                  <a:cubicBezTo>
                    <a:pt x="45669" y="0"/>
                    <a:pt x="-12" y="45669"/>
                    <a:pt x="0" y="102021"/>
                  </a:cubicBezTo>
                  <a:lnTo>
                    <a:pt x="0" y="392850"/>
                  </a:lnTo>
                  <a:cubicBezTo>
                    <a:pt x="0" y="449213"/>
                    <a:pt x="45669" y="494871"/>
                    <a:pt x="102021" y="494871"/>
                  </a:cubicBezTo>
                  <a:lnTo>
                    <a:pt x="392861" y="494871"/>
                  </a:lnTo>
                  <a:cubicBezTo>
                    <a:pt x="449202" y="494871"/>
                    <a:pt x="494882" y="449213"/>
                    <a:pt x="494882" y="392850"/>
                  </a:cubicBezTo>
                  <a:lnTo>
                    <a:pt x="494882" y="102032"/>
                  </a:lnTo>
                  <a:cubicBezTo>
                    <a:pt x="494882" y="45680"/>
                    <a:pt x="449213" y="0"/>
                    <a:pt x="392861" y="0"/>
                  </a:cubicBezTo>
                  <a:close/>
                  <a:moveTo>
                    <a:pt x="368912" y="371892"/>
                  </a:moveTo>
                  <a:cubicBezTo>
                    <a:pt x="368912" y="400063"/>
                    <a:pt x="346077" y="422920"/>
                    <a:pt x="317907" y="422920"/>
                  </a:cubicBezTo>
                  <a:lnTo>
                    <a:pt x="176975" y="422920"/>
                  </a:lnTo>
                  <a:cubicBezTo>
                    <a:pt x="148805" y="422920"/>
                    <a:pt x="125947" y="400063"/>
                    <a:pt x="125947" y="371892"/>
                  </a:cubicBezTo>
                  <a:lnTo>
                    <a:pt x="125947" y="123001"/>
                  </a:lnTo>
                  <a:cubicBezTo>
                    <a:pt x="125947" y="94830"/>
                    <a:pt x="148805" y="71985"/>
                    <a:pt x="176975" y="71985"/>
                  </a:cubicBezTo>
                  <a:lnTo>
                    <a:pt x="317907" y="71985"/>
                  </a:lnTo>
                  <a:cubicBezTo>
                    <a:pt x="346077" y="71985"/>
                    <a:pt x="368912" y="94830"/>
                    <a:pt x="368912" y="123012"/>
                  </a:cubicBezTo>
                  <a:lnTo>
                    <a:pt x="368912" y="371892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AC91AF07-1D77-999D-E2B6-210F8660F43F}"/>
                </a:ext>
              </a:extLst>
            </p:cNvPr>
            <p:cNvSpPr/>
            <p:nvPr/>
          </p:nvSpPr>
          <p:spPr bwMode="gray">
            <a:xfrm>
              <a:off x="2409957" y="4799243"/>
              <a:ext cx="146644" cy="124471"/>
            </a:xfrm>
            <a:custGeom>
              <a:avLst/>
              <a:gdLst>
                <a:gd name="connsiteX0" fmla="*/ 232781 w 582191"/>
                <a:gd name="connsiteY0" fmla="*/ 0 h 494165"/>
                <a:gd name="connsiteX1" fmla="*/ 0 w 582191"/>
                <a:gd name="connsiteY1" fmla="*/ 494165 h 494165"/>
                <a:gd name="connsiteX2" fmla="*/ 138622 w 582191"/>
                <a:gd name="connsiteY2" fmla="*/ 494142 h 494165"/>
                <a:gd name="connsiteX3" fmla="*/ 184109 w 582191"/>
                <a:gd name="connsiteY3" fmla="*/ 392576 h 494165"/>
                <a:gd name="connsiteX4" fmla="*/ 397844 w 582191"/>
                <a:gd name="connsiteY4" fmla="*/ 392576 h 494165"/>
                <a:gd name="connsiteX5" fmla="*/ 443024 w 582191"/>
                <a:gd name="connsiteY5" fmla="*/ 494029 h 494165"/>
                <a:gd name="connsiteX6" fmla="*/ 582192 w 582191"/>
                <a:gd name="connsiteY6" fmla="*/ 494029 h 494165"/>
                <a:gd name="connsiteX7" fmla="*/ 349411 w 582191"/>
                <a:gd name="connsiteY7" fmla="*/ 0 h 494165"/>
                <a:gd name="connsiteX8" fmla="*/ 232770 w 582191"/>
                <a:gd name="connsiteY8" fmla="*/ 0 h 494165"/>
                <a:gd name="connsiteX9" fmla="*/ 216091 w 582191"/>
                <a:gd name="connsiteY9" fmla="*/ 319966 h 494165"/>
                <a:gd name="connsiteX10" fmla="*/ 290954 w 582191"/>
                <a:gd name="connsiteY10" fmla="*/ 152616 h 494165"/>
                <a:gd name="connsiteX11" fmla="*/ 365498 w 582191"/>
                <a:gd name="connsiteY11" fmla="*/ 319852 h 494165"/>
                <a:gd name="connsiteX12" fmla="*/ 216091 w 582191"/>
                <a:gd name="connsiteY12" fmla="*/ 319966 h 494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2191" h="494165">
                  <a:moveTo>
                    <a:pt x="232781" y="0"/>
                  </a:moveTo>
                  <a:lnTo>
                    <a:pt x="0" y="494165"/>
                  </a:lnTo>
                  <a:lnTo>
                    <a:pt x="138622" y="494142"/>
                  </a:lnTo>
                  <a:lnTo>
                    <a:pt x="184109" y="392576"/>
                  </a:lnTo>
                  <a:lnTo>
                    <a:pt x="397844" y="392576"/>
                  </a:lnTo>
                  <a:lnTo>
                    <a:pt x="443024" y="494029"/>
                  </a:lnTo>
                  <a:lnTo>
                    <a:pt x="582192" y="494029"/>
                  </a:lnTo>
                  <a:lnTo>
                    <a:pt x="349411" y="0"/>
                  </a:lnTo>
                  <a:lnTo>
                    <a:pt x="232770" y="0"/>
                  </a:lnTo>
                  <a:close/>
                  <a:moveTo>
                    <a:pt x="216091" y="319966"/>
                  </a:moveTo>
                  <a:lnTo>
                    <a:pt x="290954" y="152616"/>
                  </a:lnTo>
                  <a:lnTo>
                    <a:pt x="365498" y="319852"/>
                  </a:lnTo>
                  <a:lnTo>
                    <a:pt x="216091" y="319966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09064B43-6152-7F47-5C05-633A98255AA0}"/>
                </a:ext>
              </a:extLst>
            </p:cNvPr>
            <p:cNvSpPr/>
            <p:nvPr/>
          </p:nvSpPr>
          <p:spPr bwMode="gray">
            <a:xfrm>
              <a:off x="1845992" y="4799243"/>
              <a:ext cx="146647" cy="124471"/>
            </a:xfrm>
            <a:custGeom>
              <a:avLst/>
              <a:gdLst>
                <a:gd name="connsiteX0" fmla="*/ 232781 w 582202"/>
                <a:gd name="connsiteY0" fmla="*/ 0 h 494165"/>
                <a:gd name="connsiteX1" fmla="*/ 0 w 582202"/>
                <a:gd name="connsiteY1" fmla="*/ 494165 h 494165"/>
                <a:gd name="connsiteX2" fmla="*/ 138622 w 582202"/>
                <a:gd name="connsiteY2" fmla="*/ 494142 h 494165"/>
                <a:gd name="connsiteX3" fmla="*/ 184131 w 582202"/>
                <a:gd name="connsiteY3" fmla="*/ 392576 h 494165"/>
                <a:gd name="connsiteX4" fmla="*/ 397833 w 582202"/>
                <a:gd name="connsiteY4" fmla="*/ 392576 h 494165"/>
                <a:gd name="connsiteX5" fmla="*/ 443012 w 582202"/>
                <a:gd name="connsiteY5" fmla="*/ 494029 h 494165"/>
                <a:gd name="connsiteX6" fmla="*/ 582203 w 582202"/>
                <a:gd name="connsiteY6" fmla="*/ 494029 h 494165"/>
                <a:gd name="connsiteX7" fmla="*/ 349399 w 582202"/>
                <a:gd name="connsiteY7" fmla="*/ 0 h 494165"/>
                <a:gd name="connsiteX8" fmla="*/ 232770 w 582202"/>
                <a:gd name="connsiteY8" fmla="*/ 0 h 494165"/>
                <a:gd name="connsiteX9" fmla="*/ 216090 w 582202"/>
                <a:gd name="connsiteY9" fmla="*/ 319966 h 494165"/>
                <a:gd name="connsiteX10" fmla="*/ 290942 w 582202"/>
                <a:gd name="connsiteY10" fmla="*/ 152616 h 494165"/>
                <a:gd name="connsiteX11" fmla="*/ 365487 w 582202"/>
                <a:gd name="connsiteY11" fmla="*/ 319852 h 494165"/>
                <a:gd name="connsiteX12" fmla="*/ 216090 w 582202"/>
                <a:gd name="connsiteY12" fmla="*/ 319966 h 494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2202" h="494165">
                  <a:moveTo>
                    <a:pt x="232781" y="0"/>
                  </a:moveTo>
                  <a:lnTo>
                    <a:pt x="0" y="494165"/>
                  </a:lnTo>
                  <a:lnTo>
                    <a:pt x="138622" y="494142"/>
                  </a:lnTo>
                  <a:lnTo>
                    <a:pt x="184131" y="392576"/>
                  </a:lnTo>
                  <a:lnTo>
                    <a:pt x="397833" y="392576"/>
                  </a:lnTo>
                  <a:lnTo>
                    <a:pt x="443012" y="494029"/>
                  </a:lnTo>
                  <a:lnTo>
                    <a:pt x="582203" y="494029"/>
                  </a:lnTo>
                  <a:lnTo>
                    <a:pt x="349399" y="0"/>
                  </a:lnTo>
                  <a:lnTo>
                    <a:pt x="232770" y="0"/>
                  </a:lnTo>
                  <a:close/>
                  <a:moveTo>
                    <a:pt x="216090" y="319966"/>
                  </a:moveTo>
                  <a:lnTo>
                    <a:pt x="290942" y="152616"/>
                  </a:lnTo>
                  <a:lnTo>
                    <a:pt x="365487" y="319852"/>
                  </a:lnTo>
                  <a:lnTo>
                    <a:pt x="216090" y="319966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03347C7C-DCEA-91E7-124D-8C84E0890A0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121138" y="4683919"/>
            <a:ext cx="0" cy="459581"/>
          </a:xfrm>
          <a:prstGeom prst="line">
            <a:avLst/>
          </a:prstGeom>
          <a:ln w="9525">
            <a:solidFill>
              <a:srgbClr val="E200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feld 66">
            <a:extLst>
              <a:ext uri="{FF2B5EF4-FFF2-40B4-BE49-F238E27FC236}">
                <a16:creationId xmlns:a16="http://schemas.microsoft.com/office/drawing/2014/main" id="{20CBFF14-95C2-9623-DF72-BA62ED6EE036}"/>
              </a:ext>
            </a:extLst>
          </p:cNvPr>
          <p:cNvSpPr txBox="1"/>
          <p:nvPr userDrawn="1"/>
        </p:nvSpPr>
        <p:spPr bwMode="gray">
          <a:xfrm>
            <a:off x="66678" y="4903764"/>
            <a:ext cx="25463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fld id="{32E94CFB-AE89-45BA-9EC0-C30924367499}" type="slidenum">
              <a:rPr lang="de-DE" sz="700" b="1" spc="20" smtClean="0">
                <a:solidFill>
                  <a:srgbClr val="E2001A"/>
                </a:solidFill>
                <a:latin typeface="Arial" panose="020B0604020202020204" pitchFamily="34" charset="0"/>
              </a:rPr>
              <a:t>‹nº›</a:t>
            </a:fld>
            <a:endParaRPr lang="de-DE" sz="700" b="1" spc="20" dirty="0">
              <a:solidFill>
                <a:srgbClr val="E2001A"/>
              </a:solidFill>
              <a:latin typeface="Arial" panose="020B0604020202020204" pitchFamily="34" charset="0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80E6F3B-77D5-FD64-AA46-7452031FFF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76263" y="374400"/>
            <a:ext cx="719137" cy="615553"/>
          </a:xfrm>
        </p:spPr>
        <p:txBody>
          <a:bodyPr>
            <a:no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A5E73111-8695-4195-A661-3FBB5F8D3F0E}"/>
              </a:ext>
            </a:extLst>
          </p:cNvPr>
          <p:cNvSpPr txBox="1"/>
          <p:nvPr userDrawn="1"/>
        </p:nvSpPr>
        <p:spPr bwMode="gray">
          <a:xfrm>
            <a:off x="576263" y="4910907"/>
            <a:ext cx="6476538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de-DE" sz="600">
                <a:solidFill>
                  <a:schemeClr val="accent1"/>
                </a:solidFill>
                <a:latin typeface="Arial" panose="020B0604020202020204" pitchFamily="34" charset="0"/>
              </a:rPr>
              <a:t>All rights reserved, also regarding any disposal, exploitation, reproduction, editing, distribution, as well as in the event of applications for industrial property rights.</a:t>
            </a:r>
            <a:endParaRPr lang="de-DE" sz="6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FB19B080-5E75-4406-BFF3-34581B7588C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195836" y="4910907"/>
            <a:ext cx="1232710" cy="9233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de-DE" sz="600" dirty="0">
                <a:solidFill>
                  <a:schemeClr val="accent1"/>
                </a:solidFill>
                <a:latin typeface="Arial" panose="020B0604020202020204" pitchFamily="34" charset="0"/>
              </a:rPr>
              <a:t>© 2023 HYDAC International GmbH</a:t>
            </a:r>
          </a:p>
        </p:txBody>
      </p:sp>
    </p:spTree>
    <p:extLst>
      <p:ext uri="{BB962C8B-B14F-4D97-AF65-F5344CB8AC3E}">
        <p14:creationId xmlns:p14="http://schemas.microsoft.com/office/powerpoint/2010/main" val="3110089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19" userDrawn="1">
          <p15:clr>
            <a:srgbClr val="FBAE40"/>
          </p15:clr>
        </p15:guide>
        <p15:guide id="2" orient="horz" pos="881" userDrawn="1">
          <p15:clr>
            <a:srgbClr val="FBAE40"/>
          </p15:clr>
        </p15:guide>
        <p15:guide id="3" orient="horz" pos="1584" userDrawn="1">
          <p15:clr>
            <a:srgbClr val="FBAE40"/>
          </p15:clr>
        </p15:guide>
        <p15:guide id="4" pos="326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607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63" userDrawn="1">
          <p15:clr>
            <a:srgbClr val="FBAE40"/>
          </p15:clr>
        </p15:guide>
        <p15:guide id="2" orient="horz" pos="667" userDrawn="1">
          <p15:clr>
            <a:srgbClr val="FBAE40"/>
          </p15:clr>
        </p15:guide>
        <p15:guide id="3" pos="2812" userDrawn="1">
          <p15:clr>
            <a:srgbClr val="FBAE40"/>
          </p15:clr>
        </p15:guide>
        <p15:guide id="4" pos="2948" userDrawn="1">
          <p15:clr>
            <a:srgbClr val="FBAE40"/>
          </p15:clr>
        </p15:guide>
        <p15:guide id="5" pos="1950" userDrawn="1">
          <p15:clr>
            <a:srgbClr val="FBAE40"/>
          </p15:clr>
        </p15:guide>
        <p15:guide id="6" pos="2086" userDrawn="1">
          <p15:clr>
            <a:srgbClr val="FBAE40"/>
          </p15:clr>
        </p15:guide>
        <p15:guide id="7" pos="3810" userDrawn="1">
          <p15:clr>
            <a:srgbClr val="FBAE40"/>
          </p15:clr>
        </p15:guide>
        <p15:guide id="8" pos="367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5pPr>
              <a:defRPr/>
            </a:lvl5pPr>
            <a:lvl6pPr marL="1080000" indent="-1800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/>
            </a:lvl6pPr>
            <a:lvl7pPr marL="1260000" indent="-1800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/>
            </a:lvl7pPr>
            <a:lvl8pPr marL="1440000" indent="-1800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/>
            </a:lvl8pPr>
            <a:lvl9pPr marL="1620000" indent="-1800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6295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63" userDrawn="1">
          <p15:clr>
            <a:srgbClr val="FBAE40"/>
          </p15:clr>
        </p15:guide>
        <p15:guide id="2" orient="horz" pos="66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6262" y="1062337"/>
            <a:ext cx="3887787" cy="3381073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8A0B615-42A3-4E41-3B5B-D0AC82513DC7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4679949" y="1062337"/>
            <a:ext cx="3887787" cy="3381072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3829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63" userDrawn="1">
          <p15:clr>
            <a:srgbClr val="FBAE40"/>
          </p15:clr>
        </p15:guide>
        <p15:guide id="2" orient="horz" pos="667" userDrawn="1">
          <p15:clr>
            <a:srgbClr val="FBAE40"/>
          </p15:clr>
        </p15:guide>
        <p15:guide id="5" pos="2812" userDrawn="1">
          <p15:clr>
            <a:srgbClr val="FBAE40"/>
          </p15:clr>
        </p15:guide>
        <p15:guide id="6" pos="294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6263" y="1062337"/>
            <a:ext cx="2519362" cy="3381073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8A0B615-42A3-4E41-3B5B-D0AC82513DC7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311525" y="1062337"/>
            <a:ext cx="2520950" cy="3381072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7D760641-4ECB-88B6-EE44-915EBDA012A9}"/>
              </a:ext>
            </a:extLst>
          </p:cNvPr>
          <p:cNvSpPr>
            <a:spLocks noGrp="1"/>
          </p:cNvSpPr>
          <p:nvPr>
            <p:ph sz="quarter" idx="11"/>
          </p:nvPr>
        </p:nvSpPr>
        <p:spPr bwMode="gray">
          <a:xfrm>
            <a:off x="6048377" y="1062337"/>
            <a:ext cx="2519360" cy="3381076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6086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63" userDrawn="1">
          <p15:clr>
            <a:srgbClr val="FBAE40"/>
          </p15:clr>
        </p15:guide>
        <p15:guide id="2" orient="horz" pos="667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3810" userDrawn="1">
          <p15:clr>
            <a:srgbClr val="FBAE40"/>
          </p15:clr>
        </p15:guide>
        <p15:guide id="5" pos="1950" userDrawn="1">
          <p15:clr>
            <a:srgbClr val="FBAE40"/>
          </p15:clr>
        </p15:guide>
        <p15:guide id="6" pos="208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+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6262" y="2716214"/>
            <a:ext cx="3887787" cy="1727195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8A0B615-42A3-4E41-3B5B-D0AC82513DC7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4679949" y="2716214"/>
            <a:ext cx="3887787" cy="1727194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6102D6F-9CFA-C51E-4C06-0DD7B7CE1E9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76262" y="1058863"/>
            <a:ext cx="8567737" cy="144145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673099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63" userDrawn="1">
          <p15:clr>
            <a:srgbClr val="FBAE40"/>
          </p15:clr>
        </p15:guide>
        <p15:guide id="2" orient="horz" pos="667" userDrawn="1">
          <p15:clr>
            <a:srgbClr val="FBAE40"/>
          </p15:clr>
        </p15:guide>
        <p15:guide id="5" pos="2812" userDrawn="1">
          <p15:clr>
            <a:srgbClr val="FBAE40"/>
          </p15:clr>
        </p15:guide>
        <p15:guide id="6" pos="2948" userDrawn="1">
          <p15:clr>
            <a:srgbClr val="FBAE40"/>
          </p15:clr>
        </p15:guide>
        <p15:guide id="7" orient="horz" pos="1575" userDrawn="1">
          <p15:clr>
            <a:srgbClr val="FBAE40"/>
          </p15:clr>
        </p15:guide>
        <p15:guide id="8" orient="horz" pos="171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+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76262" y="2716214"/>
            <a:ext cx="3887787" cy="1727195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8A0B615-42A3-4E41-3B5B-D0AC82513DC7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4679949" y="2716214"/>
            <a:ext cx="3887787" cy="1727194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6102D6F-9CFA-C51E-4C06-0DD7B7CE1E9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76263" y="1058863"/>
            <a:ext cx="3887788" cy="144145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5391674-0E23-5949-2BA6-5F7FC21132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4679949" y="1058863"/>
            <a:ext cx="3887786" cy="144145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404536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63" userDrawn="1">
          <p15:clr>
            <a:srgbClr val="FBAE40"/>
          </p15:clr>
        </p15:guide>
        <p15:guide id="2" orient="horz" pos="667" userDrawn="1">
          <p15:clr>
            <a:srgbClr val="FBAE40"/>
          </p15:clr>
        </p15:guide>
        <p15:guide id="5" pos="2812" userDrawn="1">
          <p15:clr>
            <a:srgbClr val="FBAE40"/>
          </p15:clr>
        </p15:guide>
        <p15:guide id="6" pos="2948" userDrawn="1">
          <p15:clr>
            <a:srgbClr val="FBAE40"/>
          </p15:clr>
        </p15:guide>
        <p15:guide id="7" orient="horz" pos="1575" userDrawn="1">
          <p15:clr>
            <a:srgbClr val="FBAE40"/>
          </p15:clr>
        </p15:guide>
        <p15:guide id="8" orient="horz" pos="171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AEEEAFF-10CE-4484-A141-ECC3CDD64029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351567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44" imgH="345" progId="TCLayout.ActiveDocument.1">
                  <p:embed/>
                </p:oleObj>
              </mc:Choice>
              <mc:Fallback>
                <p:oleObj name="think-cell Folie" r:id="rId17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AEEEAFF-10CE-4484-A141-ECC3CDD640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6263" y="250825"/>
            <a:ext cx="7994381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6263" y="1062337"/>
            <a:ext cx="7991474" cy="33810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FFC45CC4-4C02-04B3-50FD-5EBA7E5A3B9A}"/>
              </a:ext>
            </a:extLst>
          </p:cNvPr>
          <p:cNvCxnSpPr>
            <a:cxnSpLocks/>
          </p:cNvCxnSpPr>
          <p:nvPr/>
        </p:nvCxnSpPr>
        <p:spPr bwMode="gray">
          <a:xfrm>
            <a:off x="576263" y="860400"/>
            <a:ext cx="8567737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A20AE7F6-F4F7-1826-F78B-4AB0CBD7F848}"/>
              </a:ext>
            </a:extLst>
          </p:cNvPr>
          <p:cNvCxnSpPr>
            <a:cxnSpLocks/>
          </p:cNvCxnSpPr>
          <p:nvPr/>
        </p:nvCxnSpPr>
        <p:spPr bwMode="gray">
          <a:xfrm>
            <a:off x="576263" y="4673194"/>
            <a:ext cx="5649912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69B7478-6860-4BC8-014D-0A734F1A3697}"/>
              </a:ext>
            </a:extLst>
          </p:cNvPr>
          <p:cNvGrpSpPr/>
          <p:nvPr/>
        </p:nvGrpSpPr>
        <p:grpSpPr bwMode="gray">
          <a:xfrm>
            <a:off x="6396037" y="4663647"/>
            <a:ext cx="664369" cy="156246"/>
            <a:chOff x="358775" y="4774973"/>
            <a:chExt cx="735172" cy="172897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28D242E5-3F2B-A7DA-B254-E3530E8A306A}"/>
                </a:ext>
              </a:extLst>
            </p:cNvPr>
            <p:cNvSpPr/>
            <p:nvPr/>
          </p:nvSpPr>
          <p:spPr bwMode="gray">
            <a:xfrm>
              <a:off x="358775" y="4774973"/>
              <a:ext cx="735172" cy="172897"/>
            </a:xfrm>
            <a:custGeom>
              <a:avLst/>
              <a:gdLst>
                <a:gd name="connsiteX0" fmla="*/ 2575509 w 2918707"/>
                <a:gd name="connsiteY0" fmla="*/ 0 h 686420"/>
                <a:gd name="connsiteX1" fmla="*/ 343221 w 2918707"/>
                <a:gd name="connsiteY1" fmla="*/ 0 h 686420"/>
                <a:gd name="connsiteX2" fmla="*/ 0 w 2918707"/>
                <a:gd name="connsiteY2" fmla="*/ 343210 h 686420"/>
                <a:gd name="connsiteX3" fmla="*/ 343221 w 2918707"/>
                <a:gd name="connsiteY3" fmla="*/ 686420 h 686420"/>
                <a:gd name="connsiteX4" fmla="*/ 2575497 w 2918707"/>
                <a:gd name="connsiteY4" fmla="*/ 686420 h 686420"/>
                <a:gd name="connsiteX5" fmla="*/ 2918708 w 2918707"/>
                <a:gd name="connsiteY5" fmla="*/ 343210 h 686420"/>
                <a:gd name="connsiteX6" fmla="*/ 2575509 w 2918707"/>
                <a:gd name="connsiteY6" fmla="*/ 0 h 686420"/>
                <a:gd name="connsiteX7" fmla="*/ 2575509 w 2918707"/>
                <a:gd name="connsiteY7" fmla="*/ 662107 h 686420"/>
                <a:gd name="connsiteX8" fmla="*/ 343221 w 2918707"/>
                <a:gd name="connsiteY8" fmla="*/ 662107 h 686420"/>
                <a:gd name="connsiteX9" fmla="*/ 24313 w 2918707"/>
                <a:gd name="connsiteY9" fmla="*/ 343210 h 686420"/>
                <a:gd name="connsiteX10" fmla="*/ 343221 w 2918707"/>
                <a:gd name="connsiteY10" fmla="*/ 24325 h 686420"/>
                <a:gd name="connsiteX11" fmla="*/ 2575497 w 2918707"/>
                <a:gd name="connsiteY11" fmla="*/ 24325 h 686420"/>
                <a:gd name="connsiteX12" fmla="*/ 2894394 w 2918707"/>
                <a:gd name="connsiteY12" fmla="*/ 343221 h 686420"/>
                <a:gd name="connsiteX13" fmla="*/ 2575497 w 2918707"/>
                <a:gd name="connsiteY13" fmla="*/ 662118 h 686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918707" h="686420">
                  <a:moveTo>
                    <a:pt x="2575509" y="0"/>
                  </a:moveTo>
                  <a:lnTo>
                    <a:pt x="343221" y="0"/>
                  </a:lnTo>
                  <a:cubicBezTo>
                    <a:pt x="153970" y="0"/>
                    <a:pt x="0" y="153959"/>
                    <a:pt x="0" y="343210"/>
                  </a:cubicBezTo>
                  <a:cubicBezTo>
                    <a:pt x="0" y="532461"/>
                    <a:pt x="153970" y="686420"/>
                    <a:pt x="343221" y="686420"/>
                  </a:cubicBezTo>
                  <a:lnTo>
                    <a:pt x="2575497" y="686420"/>
                  </a:lnTo>
                  <a:cubicBezTo>
                    <a:pt x="2764749" y="686420"/>
                    <a:pt x="2918708" y="532450"/>
                    <a:pt x="2918708" y="343210"/>
                  </a:cubicBezTo>
                  <a:cubicBezTo>
                    <a:pt x="2918708" y="153970"/>
                    <a:pt x="2764749" y="0"/>
                    <a:pt x="2575509" y="0"/>
                  </a:cubicBezTo>
                  <a:close/>
                  <a:moveTo>
                    <a:pt x="2575509" y="662107"/>
                  </a:moveTo>
                  <a:lnTo>
                    <a:pt x="343221" y="662107"/>
                  </a:lnTo>
                  <a:cubicBezTo>
                    <a:pt x="167088" y="662107"/>
                    <a:pt x="24313" y="519332"/>
                    <a:pt x="24313" y="343210"/>
                  </a:cubicBezTo>
                  <a:cubicBezTo>
                    <a:pt x="24313" y="167088"/>
                    <a:pt x="167088" y="24325"/>
                    <a:pt x="343221" y="24325"/>
                  </a:cubicBezTo>
                  <a:lnTo>
                    <a:pt x="2575497" y="24325"/>
                  </a:lnTo>
                  <a:cubicBezTo>
                    <a:pt x="2751619" y="24325"/>
                    <a:pt x="2894394" y="167100"/>
                    <a:pt x="2894394" y="343221"/>
                  </a:cubicBezTo>
                  <a:cubicBezTo>
                    <a:pt x="2894394" y="519343"/>
                    <a:pt x="2751619" y="662118"/>
                    <a:pt x="2575497" y="662118"/>
                  </a:cubicBez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E1A6E6BD-3ED1-867C-64DB-AE3022263873}"/>
                </a:ext>
              </a:extLst>
            </p:cNvPr>
            <p:cNvSpPr/>
            <p:nvPr/>
          </p:nvSpPr>
          <p:spPr bwMode="gray">
            <a:xfrm>
              <a:off x="699090" y="4817610"/>
              <a:ext cx="56596" cy="87635"/>
            </a:xfrm>
            <a:custGeom>
              <a:avLst/>
              <a:gdLst>
                <a:gd name="connsiteX0" fmla="*/ 173960 w 224691"/>
                <a:gd name="connsiteY0" fmla="*/ 347875 h 347920"/>
                <a:gd name="connsiteX1" fmla="*/ 224692 w 224691"/>
                <a:gd name="connsiteY1" fmla="*/ 297132 h 347920"/>
                <a:gd name="connsiteX2" fmla="*/ 224692 w 224691"/>
                <a:gd name="connsiteY2" fmla="*/ 50971 h 347920"/>
                <a:gd name="connsiteX3" fmla="*/ 173960 w 224691"/>
                <a:gd name="connsiteY3" fmla="*/ 239 h 347920"/>
                <a:gd name="connsiteX4" fmla="*/ 166701 w 224691"/>
                <a:gd name="connsiteY4" fmla="*/ 0 h 347920"/>
                <a:gd name="connsiteX5" fmla="*/ 0 w 224691"/>
                <a:gd name="connsiteY5" fmla="*/ 23 h 347920"/>
                <a:gd name="connsiteX6" fmla="*/ 0 w 224691"/>
                <a:gd name="connsiteY6" fmla="*/ 347920 h 347920"/>
                <a:gd name="connsiteX7" fmla="*/ 166701 w 224691"/>
                <a:gd name="connsiteY7" fmla="*/ 347875 h 347920"/>
                <a:gd name="connsiteX8" fmla="*/ 173960 w 224691"/>
                <a:gd name="connsiteY8" fmla="*/ 347875 h 347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691" h="347920">
                  <a:moveTo>
                    <a:pt x="173960" y="347875"/>
                  </a:moveTo>
                  <a:cubicBezTo>
                    <a:pt x="201971" y="347875"/>
                    <a:pt x="224692" y="325154"/>
                    <a:pt x="224692" y="297132"/>
                  </a:cubicBezTo>
                  <a:lnTo>
                    <a:pt x="224692" y="50971"/>
                  </a:lnTo>
                  <a:cubicBezTo>
                    <a:pt x="224692" y="22960"/>
                    <a:pt x="201971" y="239"/>
                    <a:pt x="173960" y="239"/>
                  </a:cubicBezTo>
                  <a:lnTo>
                    <a:pt x="166701" y="0"/>
                  </a:lnTo>
                  <a:lnTo>
                    <a:pt x="0" y="23"/>
                  </a:lnTo>
                  <a:lnTo>
                    <a:pt x="0" y="347920"/>
                  </a:lnTo>
                  <a:lnTo>
                    <a:pt x="166701" y="347875"/>
                  </a:lnTo>
                  <a:lnTo>
                    <a:pt x="173960" y="347875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589C865C-9080-5E43-E1AA-BF7478848AEA}"/>
                </a:ext>
              </a:extLst>
            </p:cNvPr>
            <p:cNvSpPr/>
            <p:nvPr/>
          </p:nvSpPr>
          <p:spPr bwMode="gray">
            <a:xfrm>
              <a:off x="837295" y="4837696"/>
              <a:ext cx="37533" cy="42046"/>
            </a:xfrm>
            <a:custGeom>
              <a:avLst/>
              <a:gdLst>
                <a:gd name="connsiteX0" fmla="*/ 74658 w 149009"/>
                <a:gd name="connsiteY0" fmla="*/ 0 h 166928"/>
                <a:gd name="connsiteX1" fmla="*/ 0 w 149009"/>
                <a:gd name="connsiteY1" fmla="*/ 166929 h 166928"/>
                <a:gd name="connsiteX2" fmla="*/ 149010 w 149009"/>
                <a:gd name="connsiteY2" fmla="*/ 166804 h 166928"/>
                <a:gd name="connsiteX3" fmla="*/ 74658 w 149009"/>
                <a:gd name="connsiteY3" fmla="*/ 0 h 166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009" h="166928">
                  <a:moveTo>
                    <a:pt x="74658" y="0"/>
                  </a:moveTo>
                  <a:lnTo>
                    <a:pt x="0" y="166929"/>
                  </a:lnTo>
                  <a:lnTo>
                    <a:pt x="149010" y="166804"/>
                  </a:lnTo>
                  <a:lnTo>
                    <a:pt x="74658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385D0177-6215-670B-3C50-A5EB050694AE}"/>
                </a:ext>
              </a:extLst>
            </p:cNvPr>
            <p:cNvSpPr/>
            <p:nvPr/>
          </p:nvSpPr>
          <p:spPr bwMode="gray">
            <a:xfrm>
              <a:off x="364902" y="4781100"/>
              <a:ext cx="722923" cy="160646"/>
            </a:xfrm>
            <a:custGeom>
              <a:avLst/>
              <a:gdLst>
                <a:gd name="connsiteX0" fmla="*/ 2551184 w 2870080"/>
                <a:gd name="connsiteY0" fmla="*/ 0 h 637781"/>
                <a:gd name="connsiteX1" fmla="*/ 318897 w 2870080"/>
                <a:gd name="connsiteY1" fmla="*/ 0 h 637781"/>
                <a:gd name="connsiteX2" fmla="*/ 0 w 2870080"/>
                <a:gd name="connsiteY2" fmla="*/ 318885 h 637781"/>
                <a:gd name="connsiteX3" fmla="*/ 318908 w 2870080"/>
                <a:gd name="connsiteY3" fmla="*/ 637782 h 637781"/>
                <a:gd name="connsiteX4" fmla="*/ 2551184 w 2870080"/>
                <a:gd name="connsiteY4" fmla="*/ 637782 h 637781"/>
                <a:gd name="connsiteX5" fmla="*/ 2870081 w 2870080"/>
                <a:gd name="connsiteY5" fmla="*/ 318885 h 637781"/>
                <a:gd name="connsiteX6" fmla="*/ 2551184 w 2870080"/>
                <a:gd name="connsiteY6" fmla="*/ 0 h 637781"/>
                <a:gd name="connsiteX7" fmla="*/ 2696496 w 2870080"/>
                <a:gd name="connsiteY7" fmla="*/ 195771 h 637781"/>
                <a:gd name="connsiteX8" fmla="*/ 2573336 w 2870080"/>
                <a:gd name="connsiteY8" fmla="*/ 195771 h 637781"/>
                <a:gd name="connsiteX9" fmla="*/ 2573336 w 2870080"/>
                <a:gd name="connsiteY9" fmla="*/ 195930 h 637781"/>
                <a:gd name="connsiteX10" fmla="*/ 2573279 w 2870080"/>
                <a:gd name="connsiteY10" fmla="*/ 195782 h 637781"/>
                <a:gd name="connsiteX11" fmla="*/ 2573336 w 2870080"/>
                <a:gd name="connsiteY11" fmla="*/ 195782 h 637781"/>
                <a:gd name="connsiteX12" fmla="*/ 2522604 w 2870080"/>
                <a:gd name="connsiteY12" fmla="*/ 145198 h 637781"/>
                <a:gd name="connsiteX13" fmla="*/ 2515300 w 2870080"/>
                <a:gd name="connsiteY13" fmla="*/ 144959 h 637781"/>
                <a:gd name="connsiteX14" fmla="*/ 2406578 w 2870080"/>
                <a:gd name="connsiteY14" fmla="*/ 144959 h 637781"/>
                <a:gd name="connsiteX15" fmla="*/ 2399489 w 2870080"/>
                <a:gd name="connsiteY15" fmla="*/ 145198 h 637781"/>
                <a:gd name="connsiteX16" fmla="*/ 2348746 w 2870080"/>
                <a:gd name="connsiteY16" fmla="*/ 195441 h 637781"/>
                <a:gd name="connsiteX17" fmla="*/ 2348587 w 2870080"/>
                <a:gd name="connsiteY17" fmla="*/ 202927 h 637781"/>
                <a:gd name="connsiteX18" fmla="*/ 2348587 w 2870080"/>
                <a:gd name="connsiteY18" fmla="*/ 434843 h 637781"/>
                <a:gd name="connsiteX19" fmla="*/ 2348701 w 2870080"/>
                <a:gd name="connsiteY19" fmla="*/ 442079 h 637781"/>
                <a:gd name="connsiteX20" fmla="*/ 2399444 w 2870080"/>
                <a:gd name="connsiteY20" fmla="*/ 492823 h 637781"/>
                <a:gd name="connsiteX21" fmla="*/ 2522593 w 2870080"/>
                <a:gd name="connsiteY21" fmla="*/ 492823 h 637781"/>
                <a:gd name="connsiteX22" fmla="*/ 2573324 w 2870080"/>
                <a:gd name="connsiteY22" fmla="*/ 442205 h 637781"/>
                <a:gd name="connsiteX23" fmla="*/ 2573268 w 2870080"/>
                <a:gd name="connsiteY23" fmla="*/ 442205 h 637781"/>
                <a:gd name="connsiteX24" fmla="*/ 2573324 w 2870080"/>
                <a:gd name="connsiteY24" fmla="*/ 442079 h 637781"/>
                <a:gd name="connsiteX25" fmla="*/ 2573324 w 2870080"/>
                <a:gd name="connsiteY25" fmla="*/ 442205 h 637781"/>
                <a:gd name="connsiteX26" fmla="*/ 2696485 w 2870080"/>
                <a:gd name="connsiteY26" fmla="*/ 442205 h 637781"/>
                <a:gd name="connsiteX27" fmla="*/ 2696485 w 2870080"/>
                <a:gd name="connsiteY27" fmla="*/ 456586 h 637781"/>
                <a:gd name="connsiteX28" fmla="*/ 2696371 w 2870080"/>
                <a:gd name="connsiteY28" fmla="*/ 471160 h 637781"/>
                <a:gd name="connsiteX29" fmla="*/ 2602155 w 2870080"/>
                <a:gd name="connsiteY29" fmla="*/ 565365 h 637781"/>
                <a:gd name="connsiteX30" fmla="*/ 2587762 w 2870080"/>
                <a:gd name="connsiteY30" fmla="*/ 565297 h 637781"/>
                <a:gd name="connsiteX31" fmla="*/ 2334092 w 2870080"/>
                <a:gd name="connsiteY31" fmla="*/ 565297 h 637781"/>
                <a:gd name="connsiteX32" fmla="*/ 2319404 w 2870080"/>
                <a:gd name="connsiteY32" fmla="*/ 565365 h 637781"/>
                <a:gd name="connsiteX33" fmla="*/ 2225177 w 2870080"/>
                <a:gd name="connsiteY33" fmla="*/ 471160 h 637781"/>
                <a:gd name="connsiteX34" fmla="*/ 2225370 w 2870080"/>
                <a:gd name="connsiteY34" fmla="*/ 456586 h 637781"/>
                <a:gd name="connsiteX35" fmla="*/ 2225370 w 2870080"/>
                <a:gd name="connsiteY35" fmla="*/ 167043 h 637781"/>
                <a:gd name="connsiteX36" fmla="*/ 2319597 w 2870080"/>
                <a:gd name="connsiteY36" fmla="*/ 72815 h 637781"/>
                <a:gd name="connsiteX37" fmla="*/ 2334081 w 2870080"/>
                <a:gd name="connsiteY37" fmla="*/ 72485 h 637781"/>
                <a:gd name="connsiteX38" fmla="*/ 2587751 w 2870080"/>
                <a:gd name="connsiteY38" fmla="*/ 72485 h 637781"/>
                <a:gd name="connsiteX39" fmla="*/ 2602143 w 2870080"/>
                <a:gd name="connsiteY39" fmla="*/ 72372 h 637781"/>
                <a:gd name="connsiteX40" fmla="*/ 2696360 w 2870080"/>
                <a:gd name="connsiteY40" fmla="*/ 166599 h 637781"/>
                <a:gd name="connsiteX41" fmla="*/ 2696473 w 2870080"/>
                <a:gd name="connsiteY41" fmla="*/ 181196 h 637781"/>
                <a:gd name="connsiteX42" fmla="*/ 2696473 w 2870080"/>
                <a:gd name="connsiteY42" fmla="*/ 195771 h 637781"/>
                <a:gd name="connsiteX43" fmla="*/ 195748 w 2870080"/>
                <a:gd name="connsiteY43" fmla="*/ 72474 h 637781"/>
                <a:gd name="connsiteX44" fmla="*/ 319022 w 2870080"/>
                <a:gd name="connsiteY44" fmla="*/ 72474 h 637781"/>
                <a:gd name="connsiteX45" fmla="*/ 319022 w 2870080"/>
                <a:gd name="connsiteY45" fmla="*/ 282660 h 637781"/>
                <a:gd name="connsiteX46" fmla="*/ 543884 w 2870080"/>
                <a:gd name="connsiteY46" fmla="*/ 282739 h 637781"/>
                <a:gd name="connsiteX47" fmla="*/ 543884 w 2870080"/>
                <a:gd name="connsiteY47" fmla="*/ 72474 h 637781"/>
                <a:gd name="connsiteX48" fmla="*/ 808272 w 2870080"/>
                <a:gd name="connsiteY48" fmla="*/ 72474 h 637781"/>
                <a:gd name="connsiteX49" fmla="*/ 935255 w 2870080"/>
                <a:gd name="connsiteY49" fmla="*/ 260792 h 637781"/>
                <a:gd name="connsiteX50" fmla="*/ 1061976 w 2870080"/>
                <a:gd name="connsiteY50" fmla="*/ 72474 h 637781"/>
                <a:gd name="connsiteX51" fmla="*/ 1566153 w 2870080"/>
                <a:gd name="connsiteY51" fmla="*/ 72474 h 637781"/>
                <a:gd name="connsiteX52" fmla="*/ 1580591 w 2870080"/>
                <a:gd name="connsiteY52" fmla="*/ 72610 h 637781"/>
                <a:gd name="connsiteX53" fmla="*/ 1674807 w 2870080"/>
                <a:gd name="connsiteY53" fmla="*/ 166827 h 637781"/>
                <a:gd name="connsiteX54" fmla="*/ 1674875 w 2870080"/>
                <a:gd name="connsiteY54" fmla="*/ 181173 h 637781"/>
                <a:gd name="connsiteX55" fmla="*/ 1674875 w 2870080"/>
                <a:gd name="connsiteY55" fmla="*/ 456574 h 637781"/>
                <a:gd name="connsiteX56" fmla="*/ 1674614 w 2870080"/>
                <a:gd name="connsiteY56" fmla="*/ 470955 h 637781"/>
                <a:gd name="connsiteX57" fmla="*/ 1580398 w 2870080"/>
                <a:gd name="connsiteY57" fmla="*/ 565160 h 637781"/>
                <a:gd name="connsiteX58" fmla="*/ 1566165 w 2870080"/>
                <a:gd name="connsiteY58" fmla="*/ 565285 h 637781"/>
                <a:gd name="connsiteX59" fmla="*/ 1203420 w 2870080"/>
                <a:gd name="connsiteY59" fmla="*/ 565285 h 637781"/>
                <a:gd name="connsiteX60" fmla="*/ 1203397 w 2870080"/>
                <a:gd name="connsiteY60" fmla="*/ 80643 h 637781"/>
                <a:gd name="connsiteX61" fmla="*/ 1000447 w 2870080"/>
                <a:gd name="connsiteY61" fmla="*/ 370470 h 637781"/>
                <a:gd name="connsiteX62" fmla="*/ 1000481 w 2870080"/>
                <a:gd name="connsiteY62" fmla="*/ 565285 h 637781"/>
                <a:gd name="connsiteX63" fmla="*/ 870017 w 2870080"/>
                <a:gd name="connsiteY63" fmla="*/ 565285 h 637781"/>
                <a:gd name="connsiteX64" fmla="*/ 870017 w 2870080"/>
                <a:gd name="connsiteY64" fmla="*/ 371210 h 637781"/>
                <a:gd name="connsiteX65" fmla="*/ 666965 w 2870080"/>
                <a:gd name="connsiteY65" fmla="*/ 81382 h 637781"/>
                <a:gd name="connsiteX66" fmla="*/ 667079 w 2870080"/>
                <a:gd name="connsiteY66" fmla="*/ 565285 h 637781"/>
                <a:gd name="connsiteX67" fmla="*/ 543873 w 2870080"/>
                <a:gd name="connsiteY67" fmla="*/ 565285 h 637781"/>
                <a:gd name="connsiteX68" fmla="*/ 543873 w 2870080"/>
                <a:gd name="connsiteY68" fmla="*/ 355099 h 637781"/>
                <a:gd name="connsiteX69" fmla="*/ 319010 w 2870080"/>
                <a:gd name="connsiteY69" fmla="*/ 355099 h 637781"/>
                <a:gd name="connsiteX70" fmla="*/ 319010 w 2870080"/>
                <a:gd name="connsiteY70" fmla="*/ 565274 h 637781"/>
                <a:gd name="connsiteX71" fmla="*/ 195691 w 2870080"/>
                <a:gd name="connsiteY71" fmla="*/ 565274 h 637781"/>
                <a:gd name="connsiteX72" fmla="*/ 195736 w 2870080"/>
                <a:gd name="connsiteY72" fmla="*/ 72451 h 637781"/>
                <a:gd name="connsiteX73" fmla="*/ 2008449 w 2870080"/>
                <a:gd name="connsiteY73" fmla="*/ 72463 h 637781"/>
                <a:gd name="connsiteX74" fmla="*/ 2240639 w 2870080"/>
                <a:gd name="connsiteY74" fmla="*/ 565217 h 637781"/>
                <a:gd name="connsiteX75" fmla="*/ 2101812 w 2870080"/>
                <a:gd name="connsiteY75" fmla="*/ 565217 h 637781"/>
                <a:gd name="connsiteX76" fmla="*/ 2056746 w 2870080"/>
                <a:gd name="connsiteY76" fmla="*/ 464049 h 637781"/>
                <a:gd name="connsiteX77" fmla="*/ 1843579 w 2870080"/>
                <a:gd name="connsiteY77" fmla="*/ 464049 h 637781"/>
                <a:gd name="connsiteX78" fmla="*/ 1798206 w 2870080"/>
                <a:gd name="connsiteY78" fmla="*/ 565342 h 637781"/>
                <a:gd name="connsiteX79" fmla="*/ 1659937 w 2870080"/>
                <a:gd name="connsiteY79" fmla="*/ 565365 h 637781"/>
                <a:gd name="connsiteX80" fmla="*/ 1892126 w 2870080"/>
                <a:gd name="connsiteY80" fmla="*/ 72474 h 637781"/>
                <a:gd name="connsiteX81" fmla="*/ 2008460 w 2870080"/>
                <a:gd name="connsiteY81" fmla="*/ 72474 h 637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2870080" h="637781">
                  <a:moveTo>
                    <a:pt x="2551184" y="0"/>
                  </a:moveTo>
                  <a:lnTo>
                    <a:pt x="318897" y="0"/>
                  </a:lnTo>
                  <a:cubicBezTo>
                    <a:pt x="142763" y="0"/>
                    <a:pt x="0" y="142763"/>
                    <a:pt x="0" y="318885"/>
                  </a:cubicBezTo>
                  <a:cubicBezTo>
                    <a:pt x="0" y="495007"/>
                    <a:pt x="142775" y="637782"/>
                    <a:pt x="318908" y="637782"/>
                  </a:cubicBezTo>
                  <a:lnTo>
                    <a:pt x="2551184" y="637782"/>
                  </a:lnTo>
                  <a:cubicBezTo>
                    <a:pt x="2727306" y="637782"/>
                    <a:pt x="2870081" y="495007"/>
                    <a:pt x="2870081" y="318885"/>
                  </a:cubicBezTo>
                  <a:cubicBezTo>
                    <a:pt x="2870081" y="142763"/>
                    <a:pt x="2727306" y="0"/>
                    <a:pt x="2551184" y="0"/>
                  </a:cubicBezTo>
                  <a:close/>
                  <a:moveTo>
                    <a:pt x="2696496" y="195771"/>
                  </a:moveTo>
                  <a:lnTo>
                    <a:pt x="2573336" y="195771"/>
                  </a:lnTo>
                  <a:cubicBezTo>
                    <a:pt x="2573336" y="195827"/>
                    <a:pt x="2573336" y="195873"/>
                    <a:pt x="2573336" y="195930"/>
                  </a:cubicBezTo>
                  <a:lnTo>
                    <a:pt x="2573279" y="195782"/>
                  </a:lnTo>
                  <a:lnTo>
                    <a:pt x="2573336" y="195782"/>
                  </a:lnTo>
                  <a:cubicBezTo>
                    <a:pt x="2573256" y="167839"/>
                    <a:pt x="2550570" y="145198"/>
                    <a:pt x="2522604" y="145198"/>
                  </a:cubicBezTo>
                  <a:lnTo>
                    <a:pt x="2515300" y="144959"/>
                  </a:lnTo>
                  <a:lnTo>
                    <a:pt x="2406578" y="144959"/>
                  </a:lnTo>
                  <a:lnTo>
                    <a:pt x="2399489" y="145198"/>
                  </a:lnTo>
                  <a:cubicBezTo>
                    <a:pt x="2371478" y="145198"/>
                    <a:pt x="2348746" y="167430"/>
                    <a:pt x="2348746" y="195441"/>
                  </a:cubicBezTo>
                  <a:lnTo>
                    <a:pt x="2348587" y="202927"/>
                  </a:lnTo>
                  <a:lnTo>
                    <a:pt x="2348587" y="434843"/>
                  </a:lnTo>
                  <a:lnTo>
                    <a:pt x="2348701" y="442079"/>
                  </a:lnTo>
                  <a:cubicBezTo>
                    <a:pt x="2348701" y="470113"/>
                    <a:pt x="2371410" y="492823"/>
                    <a:pt x="2399444" y="492823"/>
                  </a:cubicBezTo>
                  <a:lnTo>
                    <a:pt x="2522593" y="492823"/>
                  </a:lnTo>
                  <a:cubicBezTo>
                    <a:pt x="2550570" y="492823"/>
                    <a:pt x="2573256" y="470170"/>
                    <a:pt x="2573324" y="442205"/>
                  </a:cubicBezTo>
                  <a:lnTo>
                    <a:pt x="2573268" y="442205"/>
                  </a:lnTo>
                  <a:lnTo>
                    <a:pt x="2573324" y="442079"/>
                  </a:lnTo>
                  <a:cubicBezTo>
                    <a:pt x="2573324" y="442079"/>
                    <a:pt x="2573324" y="442159"/>
                    <a:pt x="2573324" y="442205"/>
                  </a:cubicBezTo>
                  <a:lnTo>
                    <a:pt x="2696485" y="442205"/>
                  </a:lnTo>
                  <a:lnTo>
                    <a:pt x="2696485" y="456586"/>
                  </a:lnTo>
                  <a:lnTo>
                    <a:pt x="2696371" y="471160"/>
                  </a:lnTo>
                  <a:cubicBezTo>
                    <a:pt x="2696371" y="523189"/>
                    <a:pt x="2654183" y="565365"/>
                    <a:pt x="2602155" y="565365"/>
                  </a:cubicBezTo>
                  <a:lnTo>
                    <a:pt x="2587762" y="565297"/>
                  </a:lnTo>
                  <a:lnTo>
                    <a:pt x="2334092" y="565297"/>
                  </a:lnTo>
                  <a:lnTo>
                    <a:pt x="2319404" y="565365"/>
                  </a:lnTo>
                  <a:cubicBezTo>
                    <a:pt x="2267364" y="565365"/>
                    <a:pt x="2225177" y="523189"/>
                    <a:pt x="2225177" y="471160"/>
                  </a:cubicBezTo>
                  <a:lnTo>
                    <a:pt x="2225370" y="456586"/>
                  </a:lnTo>
                  <a:lnTo>
                    <a:pt x="2225370" y="167043"/>
                  </a:lnTo>
                  <a:cubicBezTo>
                    <a:pt x="2225370" y="115003"/>
                    <a:pt x="2267569" y="72815"/>
                    <a:pt x="2319597" y="72815"/>
                  </a:cubicBezTo>
                  <a:lnTo>
                    <a:pt x="2334081" y="72485"/>
                  </a:lnTo>
                  <a:lnTo>
                    <a:pt x="2587751" y="72485"/>
                  </a:lnTo>
                  <a:lnTo>
                    <a:pt x="2602143" y="72372"/>
                  </a:lnTo>
                  <a:cubicBezTo>
                    <a:pt x="2654172" y="72372"/>
                    <a:pt x="2696360" y="114570"/>
                    <a:pt x="2696360" y="166599"/>
                  </a:cubicBezTo>
                  <a:lnTo>
                    <a:pt x="2696473" y="181196"/>
                  </a:lnTo>
                  <a:lnTo>
                    <a:pt x="2696473" y="195771"/>
                  </a:lnTo>
                  <a:close/>
                  <a:moveTo>
                    <a:pt x="195748" y="72474"/>
                  </a:moveTo>
                  <a:lnTo>
                    <a:pt x="319022" y="72474"/>
                  </a:lnTo>
                  <a:lnTo>
                    <a:pt x="319022" y="282660"/>
                  </a:lnTo>
                  <a:lnTo>
                    <a:pt x="543884" y="282739"/>
                  </a:lnTo>
                  <a:lnTo>
                    <a:pt x="543884" y="72474"/>
                  </a:lnTo>
                  <a:lnTo>
                    <a:pt x="808272" y="72474"/>
                  </a:lnTo>
                  <a:lnTo>
                    <a:pt x="935255" y="260792"/>
                  </a:lnTo>
                  <a:lnTo>
                    <a:pt x="1061976" y="72474"/>
                  </a:lnTo>
                  <a:lnTo>
                    <a:pt x="1566153" y="72474"/>
                  </a:lnTo>
                  <a:lnTo>
                    <a:pt x="1580591" y="72610"/>
                  </a:lnTo>
                  <a:cubicBezTo>
                    <a:pt x="1632620" y="72610"/>
                    <a:pt x="1674807" y="114798"/>
                    <a:pt x="1674807" y="166827"/>
                  </a:cubicBezTo>
                  <a:lnTo>
                    <a:pt x="1674875" y="181173"/>
                  </a:lnTo>
                  <a:lnTo>
                    <a:pt x="1674875" y="456574"/>
                  </a:lnTo>
                  <a:lnTo>
                    <a:pt x="1674614" y="470955"/>
                  </a:lnTo>
                  <a:cubicBezTo>
                    <a:pt x="1674614" y="522995"/>
                    <a:pt x="1632427" y="565160"/>
                    <a:pt x="1580398" y="565160"/>
                  </a:cubicBezTo>
                  <a:lnTo>
                    <a:pt x="1566165" y="565285"/>
                  </a:lnTo>
                  <a:lnTo>
                    <a:pt x="1203420" y="565285"/>
                  </a:lnTo>
                  <a:lnTo>
                    <a:pt x="1203397" y="80643"/>
                  </a:lnTo>
                  <a:lnTo>
                    <a:pt x="1000447" y="370470"/>
                  </a:lnTo>
                  <a:lnTo>
                    <a:pt x="1000481" y="565285"/>
                  </a:lnTo>
                  <a:lnTo>
                    <a:pt x="870017" y="565285"/>
                  </a:lnTo>
                  <a:lnTo>
                    <a:pt x="870017" y="371210"/>
                  </a:lnTo>
                  <a:lnTo>
                    <a:pt x="666965" y="81382"/>
                  </a:lnTo>
                  <a:lnTo>
                    <a:pt x="667079" y="565285"/>
                  </a:lnTo>
                  <a:lnTo>
                    <a:pt x="543873" y="565285"/>
                  </a:lnTo>
                  <a:lnTo>
                    <a:pt x="543873" y="355099"/>
                  </a:lnTo>
                  <a:lnTo>
                    <a:pt x="319010" y="355099"/>
                  </a:lnTo>
                  <a:lnTo>
                    <a:pt x="319010" y="565274"/>
                  </a:lnTo>
                  <a:lnTo>
                    <a:pt x="195691" y="565274"/>
                  </a:lnTo>
                  <a:lnTo>
                    <a:pt x="195736" y="72451"/>
                  </a:lnTo>
                  <a:close/>
                  <a:moveTo>
                    <a:pt x="2008449" y="72463"/>
                  </a:moveTo>
                  <a:lnTo>
                    <a:pt x="2240639" y="565217"/>
                  </a:lnTo>
                  <a:lnTo>
                    <a:pt x="2101812" y="565217"/>
                  </a:lnTo>
                  <a:lnTo>
                    <a:pt x="2056746" y="464049"/>
                  </a:lnTo>
                  <a:lnTo>
                    <a:pt x="1843579" y="464049"/>
                  </a:lnTo>
                  <a:lnTo>
                    <a:pt x="1798206" y="565342"/>
                  </a:lnTo>
                  <a:lnTo>
                    <a:pt x="1659937" y="565365"/>
                  </a:lnTo>
                  <a:lnTo>
                    <a:pt x="1892126" y="72474"/>
                  </a:lnTo>
                  <a:lnTo>
                    <a:pt x="2008460" y="72474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6445162-DF21-BD65-6C35-CE790D4732BF}"/>
                </a:ext>
              </a:extLst>
            </p:cNvPr>
            <p:cNvSpPr/>
            <p:nvPr/>
          </p:nvSpPr>
          <p:spPr bwMode="gray">
            <a:xfrm>
              <a:off x="414202" y="4799355"/>
              <a:ext cx="372578" cy="124136"/>
            </a:xfrm>
            <a:custGeom>
              <a:avLst/>
              <a:gdLst>
                <a:gd name="connsiteX0" fmla="*/ 123308 w 1479173"/>
                <a:gd name="connsiteY0" fmla="*/ 282648 h 492833"/>
                <a:gd name="connsiteX1" fmla="*/ 348171 w 1479173"/>
                <a:gd name="connsiteY1" fmla="*/ 282648 h 492833"/>
                <a:gd name="connsiteX2" fmla="*/ 348171 w 1479173"/>
                <a:gd name="connsiteY2" fmla="*/ 492834 h 492833"/>
                <a:gd name="connsiteX3" fmla="*/ 471376 w 1479173"/>
                <a:gd name="connsiteY3" fmla="*/ 492834 h 492833"/>
                <a:gd name="connsiteX4" fmla="*/ 471262 w 1479173"/>
                <a:gd name="connsiteY4" fmla="*/ 8931 h 492833"/>
                <a:gd name="connsiteX5" fmla="*/ 674315 w 1479173"/>
                <a:gd name="connsiteY5" fmla="*/ 298759 h 492833"/>
                <a:gd name="connsiteX6" fmla="*/ 674315 w 1479173"/>
                <a:gd name="connsiteY6" fmla="*/ 492834 h 492833"/>
                <a:gd name="connsiteX7" fmla="*/ 804779 w 1479173"/>
                <a:gd name="connsiteY7" fmla="*/ 492834 h 492833"/>
                <a:gd name="connsiteX8" fmla="*/ 804745 w 1479173"/>
                <a:gd name="connsiteY8" fmla="*/ 298019 h 492833"/>
                <a:gd name="connsiteX9" fmla="*/ 1007695 w 1479173"/>
                <a:gd name="connsiteY9" fmla="*/ 8192 h 492833"/>
                <a:gd name="connsiteX10" fmla="*/ 1007717 w 1479173"/>
                <a:gd name="connsiteY10" fmla="*/ 492834 h 492833"/>
                <a:gd name="connsiteX11" fmla="*/ 1370462 w 1479173"/>
                <a:gd name="connsiteY11" fmla="*/ 492834 h 492833"/>
                <a:gd name="connsiteX12" fmla="*/ 1384695 w 1479173"/>
                <a:gd name="connsiteY12" fmla="*/ 492709 h 492833"/>
                <a:gd name="connsiteX13" fmla="*/ 1478912 w 1479173"/>
                <a:gd name="connsiteY13" fmla="*/ 398504 h 492833"/>
                <a:gd name="connsiteX14" fmla="*/ 1479173 w 1479173"/>
                <a:gd name="connsiteY14" fmla="*/ 384123 h 492833"/>
                <a:gd name="connsiteX15" fmla="*/ 1479173 w 1479173"/>
                <a:gd name="connsiteY15" fmla="*/ 108711 h 492833"/>
                <a:gd name="connsiteX16" fmla="*/ 1479105 w 1479173"/>
                <a:gd name="connsiteY16" fmla="*/ 94364 h 492833"/>
                <a:gd name="connsiteX17" fmla="*/ 1384889 w 1479173"/>
                <a:gd name="connsiteY17" fmla="*/ 148 h 492833"/>
                <a:gd name="connsiteX18" fmla="*/ 1370451 w 1479173"/>
                <a:gd name="connsiteY18" fmla="*/ 11 h 492833"/>
                <a:gd name="connsiteX19" fmla="*/ 866274 w 1479173"/>
                <a:gd name="connsiteY19" fmla="*/ 11 h 492833"/>
                <a:gd name="connsiteX20" fmla="*/ 739552 w 1479173"/>
                <a:gd name="connsiteY20" fmla="*/ 188330 h 492833"/>
                <a:gd name="connsiteX21" fmla="*/ 612570 w 1479173"/>
                <a:gd name="connsiteY21" fmla="*/ 11 h 492833"/>
                <a:gd name="connsiteX22" fmla="*/ 348182 w 1479173"/>
                <a:gd name="connsiteY22" fmla="*/ 11 h 492833"/>
                <a:gd name="connsiteX23" fmla="*/ 348182 w 1479173"/>
                <a:gd name="connsiteY23" fmla="*/ 210277 h 492833"/>
                <a:gd name="connsiteX24" fmla="*/ 123319 w 1479173"/>
                <a:gd name="connsiteY24" fmla="*/ 210197 h 492833"/>
                <a:gd name="connsiteX25" fmla="*/ 123319 w 1479173"/>
                <a:gd name="connsiteY25" fmla="*/ 0 h 492833"/>
                <a:gd name="connsiteX26" fmla="*/ 46 w 1479173"/>
                <a:gd name="connsiteY26" fmla="*/ 0 h 492833"/>
                <a:gd name="connsiteX27" fmla="*/ 0 w 1479173"/>
                <a:gd name="connsiteY27" fmla="*/ 492823 h 492833"/>
                <a:gd name="connsiteX28" fmla="*/ 123319 w 1479173"/>
                <a:gd name="connsiteY28" fmla="*/ 492823 h 492833"/>
                <a:gd name="connsiteX29" fmla="*/ 123319 w 1479173"/>
                <a:gd name="connsiteY29" fmla="*/ 282648 h 492833"/>
                <a:gd name="connsiteX30" fmla="*/ 1131060 w 1479173"/>
                <a:gd name="connsiteY30" fmla="*/ 72497 h 492833"/>
                <a:gd name="connsiteX31" fmla="*/ 1297761 w 1479173"/>
                <a:gd name="connsiteY31" fmla="*/ 72474 h 492833"/>
                <a:gd name="connsiteX32" fmla="*/ 1305020 w 1479173"/>
                <a:gd name="connsiteY32" fmla="*/ 72713 h 492833"/>
                <a:gd name="connsiteX33" fmla="*/ 1355751 w 1479173"/>
                <a:gd name="connsiteY33" fmla="*/ 123445 h 492833"/>
                <a:gd name="connsiteX34" fmla="*/ 1355751 w 1479173"/>
                <a:gd name="connsiteY34" fmla="*/ 369594 h 492833"/>
                <a:gd name="connsiteX35" fmla="*/ 1305020 w 1479173"/>
                <a:gd name="connsiteY35" fmla="*/ 420337 h 492833"/>
                <a:gd name="connsiteX36" fmla="*/ 1297761 w 1479173"/>
                <a:gd name="connsiteY36" fmla="*/ 420337 h 492833"/>
                <a:gd name="connsiteX37" fmla="*/ 1131060 w 1479173"/>
                <a:gd name="connsiteY37" fmla="*/ 420383 h 492833"/>
                <a:gd name="connsiteX38" fmla="*/ 1131060 w 1479173"/>
                <a:gd name="connsiteY38" fmla="*/ 72497 h 49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479173" h="492833">
                  <a:moveTo>
                    <a:pt x="123308" y="282648"/>
                  </a:moveTo>
                  <a:lnTo>
                    <a:pt x="348171" y="282648"/>
                  </a:lnTo>
                  <a:lnTo>
                    <a:pt x="348171" y="492834"/>
                  </a:lnTo>
                  <a:lnTo>
                    <a:pt x="471376" y="492834"/>
                  </a:lnTo>
                  <a:lnTo>
                    <a:pt x="471262" y="8931"/>
                  </a:lnTo>
                  <a:lnTo>
                    <a:pt x="674315" y="298759"/>
                  </a:lnTo>
                  <a:lnTo>
                    <a:pt x="674315" y="492834"/>
                  </a:lnTo>
                  <a:lnTo>
                    <a:pt x="804779" y="492834"/>
                  </a:lnTo>
                  <a:lnTo>
                    <a:pt x="804745" y="298019"/>
                  </a:lnTo>
                  <a:lnTo>
                    <a:pt x="1007695" y="8192"/>
                  </a:lnTo>
                  <a:lnTo>
                    <a:pt x="1007717" y="492834"/>
                  </a:lnTo>
                  <a:lnTo>
                    <a:pt x="1370462" y="492834"/>
                  </a:lnTo>
                  <a:lnTo>
                    <a:pt x="1384695" y="492709"/>
                  </a:lnTo>
                  <a:cubicBezTo>
                    <a:pt x="1436724" y="492709"/>
                    <a:pt x="1478912" y="450533"/>
                    <a:pt x="1478912" y="398504"/>
                  </a:cubicBezTo>
                  <a:lnTo>
                    <a:pt x="1479173" y="384123"/>
                  </a:lnTo>
                  <a:lnTo>
                    <a:pt x="1479173" y="108711"/>
                  </a:lnTo>
                  <a:lnTo>
                    <a:pt x="1479105" y="94364"/>
                  </a:lnTo>
                  <a:cubicBezTo>
                    <a:pt x="1479105" y="42335"/>
                    <a:pt x="1436918" y="148"/>
                    <a:pt x="1384889" y="148"/>
                  </a:cubicBezTo>
                  <a:lnTo>
                    <a:pt x="1370451" y="11"/>
                  </a:lnTo>
                  <a:lnTo>
                    <a:pt x="866274" y="11"/>
                  </a:lnTo>
                  <a:lnTo>
                    <a:pt x="739552" y="188330"/>
                  </a:lnTo>
                  <a:lnTo>
                    <a:pt x="612570" y="11"/>
                  </a:lnTo>
                  <a:lnTo>
                    <a:pt x="348182" y="11"/>
                  </a:lnTo>
                  <a:lnTo>
                    <a:pt x="348182" y="210277"/>
                  </a:lnTo>
                  <a:lnTo>
                    <a:pt x="123319" y="210197"/>
                  </a:lnTo>
                  <a:lnTo>
                    <a:pt x="123319" y="0"/>
                  </a:lnTo>
                  <a:lnTo>
                    <a:pt x="46" y="0"/>
                  </a:lnTo>
                  <a:lnTo>
                    <a:pt x="0" y="492823"/>
                  </a:lnTo>
                  <a:lnTo>
                    <a:pt x="123319" y="492823"/>
                  </a:lnTo>
                  <a:lnTo>
                    <a:pt x="123319" y="282648"/>
                  </a:lnTo>
                  <a:close/>
                  <a:moveTo>
                    <a:pt x="1131060" y="72497"/>
                  </a:moveTo>
                  <a:lnTo>
                    <a:pt x="1297761" y="72474"/>
                  </a:lnTo>
                  <a:lnTo>
                    <a:pt x="1305020" y="72713"/>
                  </a:lnTo>
                  <a:cubicBezTo>
                    <a:pt x="1333031" y="72713"/>
                    <a:pt x="1355751" y="95433"/>
                    <a:pt x="1355751" y="123445"/>
                  </a:cubicBezTo>
                  <a:lnTo>
                    <a:pt x="1355751" y="369594"/>
                  </a:lnTo>
                  <a:cubicBezTo>
                    <a:pt x="1355751" y="397628"/>
                    <a:pt x="1333031" y="420337"/>
                    <a:pt x="1305020" y="420337"/>
                  </a:cubicBezTo>
                  <a:lnTo>
                    <a:pt x="1297761" y="420337"/>
                  </a:lnTo>
                  <a:lnTo>
                    <a:pt x="1131060" y="420383"/>
                  </a:lnTo>
                  <a:lnTo>
                    <a:pt x="1131060" y="72497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E275CEF2-3FE3-3B5A-E9CD-A4BFC3C6AF71}"/>
                </a:ext>
              </a:extLst>
            </p:cNvPr>
            <p:cNvSpPr/>
            <p:nvPr/>
          </p:nvSpPr>
          <p:spPr bwMode="gray">
            <a:xfrm>
              <a:off x="925388" y="4799326"/>
              <a:ext cx="118717" cy="124176"/>
            </a:xfrm>
            <a:custGeom>
              <a:avLst/>
              <a:gdLst>
                <a:gd name="connsiteX0" fmla="*/ 376978 w 471319"/>
                <a:gd name="connsiteY0" fmla="*/ 0 h 492993"/>
                <a:gd name="connsiteX1" fmla="*/ 362586 w 471319"/>
                <a:gd name="connsiteY1" fmla="*/ 114 h 492993"/>
                <a:gd name="connsiteX2" fmla="*/ 108915 w 471319"/>
                <a:gd name="connsiteY2" fmla="*/ 114 h 492993"/>
                <a:gd name="connsiteX3" fmla="*/ 94432 w 471319"/>
                <a:gd name="connsiteY3" fmla="*/ 444 h 492993"/>
                <a:gd name="connsiteX4" fmla="*/ 205 w 471319"/>
                <a:gd name="connsiteY4" fmla="*/ 94671 h 492993"/>
                <a:gd name="connsiteX5" fmla="*/ 205 w 471319"/>
                <a:gd name="connsiteY5" fmla="*/ 384214 h 492993"/>
                <a:gd name="connsiteX6" fmla="*/ 0 w 471319"/>
                <a:gd name="connsiteY6" fmla="*/ 398789 h 492993"/>
                <a:gd name="connsiteX7" fmla="*/ 94227 w 471319"/>
                <a:gd name="connsiteY7" fmla="*/ 492993 h 492993"/>
                <a:gd name="connsiteX8" fmla="*/ 108915 w 471319"/>
                <a:gd name="connsiteY8" fmla="*/ 492925 h 492993"/>
                <a:gd name="connsiteX9" fmla="*/ 362586 w 471319"/>
                <a:gd name="connsiteY9" fmla="*/ 492925 h 492993"/>
                <a:gd name="connsiteX10" fmla="*/ 376978 w 471319"/>
                <a:gd name="connsiteY10" fmla="*/ 492993 h 492993"/>
                <a:gd name="connsiteX11" fmla="*/ 471194 w 471319"/>
                <a:gd name="connsiteY11" fmla="*/ 398789 h 492993"/>
                <a:gd name="connsiteX12" fmla="*/ 471308 w 471319"/>
                <a:gd name="connsiteY12" fmla="*/ 384214 h 492993"/>
                <a:gd name="connsiteX13" fmla="*/ 471308 w 471319"/>
                <a:gd name="connsiteY13" fmla="*/ 369833 h 492993"/>
                <a:gd name="connsiteX14" fmla="*/ 348148 w 471319"/>
                <a:gd name="connsiteY14" fmla="*/ 369833 h 492993"/>
                <a:gd name="connsiteX15" fmla="*/ 297416 w 471319"/>
                <a:gd name="connsiteY15" fmla="*/ 420451 h 492993"/>
                <a:gd name="connsiteX16" fmla="*/ 174267 w 471319"/>
                <a:gd name="connsiteY16" fmla="*/ 420451 h 492993"/>
                <a:gd name="connsiteX17" fmla="*/ 123524 w 471319"/>
                <a:gd name="connsiteY17" fmla="*/ 369708 h 492993"/>
                <a:gd name="connsiteX18" fmla="*/ 123410 w 471319"/>
                <a:gd name="connsiteY18" fmla="*/ 362472 h 492993"/>
                <a:gd name="connsiteX19" fmla="*/ 123410 w 471319"/>
                <a:gd name="connsiteY19" fmla="*/ 130567 h 492993"/>
                <a:gd name="connsiteX20" fmla="*/ 123570 w 471319"/>
                <a:gd name="connsiteY20" fmla="*/ 123080 h 492993"/>
                <a:gd name="connsiteX21" fmla="*/ 174313 w 471319"/>
                <a:gd name="connsiteY21" fmla="*/ 72838 h 492993"/>
                <a:gd name="connsiteX22" fmla="*/ 181401 w 471319"/>
                <a:gd name="connsiteY22" fmla="*/ 72599 h 492993"/>
                <a:gd name="connsiteX23" fmla="*/ 290123 w 471319"/>
                <a:gd name="connsiteY23" fmla="*/ 72599 h 492993"/>
                <a:gd name="connsiteX24" fmla="*/ 297428 w 471319"/>
                <a:gd name="connsiteY24" fmla="*/ 72838 h 492993"/>
                <a:gd name="connsiteX25" fmla="*/ 348159 w 471319"/>
                <a:gd name="connsiteY25" fmla="*/ 123422 h 492993"/>
                <a:gd name="connsiteX26" fmla="*/ 471319 w 471319"/>
                <a:gd name="connsiteY26" fmla="*/ 123422 h 492993"/>
                <a:gd name="connsiteX27" fmla="*/ 471319 w 471319"/>
                <a:gd name="connsiteY27" fmla="*/ 108836 h 492993"/>
                <a:gd name="connsiteX28" fmla="*/ 471206 w 471319"/>
                <a:gd name="connsiteY28" fmla="*/ 94239 h 492993"/>
                <a:gd name="connsiteX29" fmla="*/ 376989 w 471319"/>
                <a:gd name="connsiteY29" fmla="*/ 11 h 492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71319" h="492993">
                  <a:moveTo>
                    <a:pt x="376978" y="0"/>
                  </a:moveTo>
                  <a:lnTo>
                    <a:pt x="362586" y="114"/>
                  </a:lnTo>
                  <a:lnTo>
                    <a:pt x="108915" y="114"/>
                  </a:lnTo>
                  <a:lnTo>
                    <a:pt x="94432" y="444"/>
                  </a:lnTo>
                  <a:cubicBezTo>
                    <a:pt x="42403" y="444"/>
                    <a:pt x="205" y="42631"/>
                    <a:pt x="205" y="94671"/>
                  </a:cubicBezTo>
                  <a:lnTo>
                    <a:pt x="205" y="384214"/>
                  </a:lnTo>
                  <a:lnTo>
                    <a:pt x="0" y="398789"/>
                  </a:lnTo>
                  <a:cubicBezTo>
                    <a:pt x="0" y="450817"/>
                    <a:pt x="42187" y="492993"/>
                    <a:pt x="94227" y="492993"/>
                  </a:cubicBezTo>
                  <a:lnTo>
                    <a:pt x="108915" y="492925"/>
                  </a:lnTo>
                  <a:lnTo>
                    <a:pt x="362586" y="492925"/>
                  </a:lnTo>
                  <a:lnTo>
                    <a:pt x="376978" y="492993"/>
                  </a:lnTo>
                  <a:cubicBezTo>
                    <a:pt x="429007" y="492993"/>
                    <a:pt x="471194" y="450817"/>
                    <a:pt x="471194" y="398789"/>
                  </a:cubicBezTo>
                  <a:lnTo>
                    <a:pt x="471308" y="384214"/>
                  </a:lnTo>
                  <a:lnTo>
                    <a:pt x="471308" y="369833"/>
                  </a:lnTo>
                  <a:lnTo>
                    <a:pt x="348148" y="369833"/>
                  </a:lnTo>
                  <a:cubicBezTo>
                    <a:pt x="348080" y="397810"/>
                    <a:pt x="325393" y="420451"/>
                    <a:pt x="297416" y="420451"/>
                  </a:cubicBezTo>
                  <a:lnTo>
                    <a:pt x="174267" y="420451"/>
                  </a:lnTo>
                  <a:cubicBezTo>
                    <a:pt x="146245" y="420451"/>
                    <a:pt x="123524" y="397742"/>
                    <a:pt x="123524" y="369708"/>
                  </a:cubicBezTo>
                  <a:lnTo>
                    <a:pt x="123410" y="362472"/>
                  </a:lnTo>
                  <a:lnTo>
                    <a:pt x="123410" y="130567"/>
                  </a:lnTo>
                  <a:lnTo>
                    <a:pt x="123570" y="123080"/>
                  </a:lnTo>
                  <a:cubicBezTo>
                    <a:pt x="123570" y="95069"/>
                    <a:pt x="146290" y="72838"/>
                    <a:pt x="174313" y="72838"/>
                  </a:cubicBezTo>
                  <a:lnTo>
                    <a:pt x="181401" y="72599"/>
                  </a:lnTo>
                  <a:lnTo>
                    <a:pt x="290123" y="72599"/>
                  </a:lnTo>
                  <a:lnTo>
                    <a:pt x="297428" y="72838"/>
                  </a:lnTo>
                  <a:cubicBezTo>
                    <a:pt x="325393" y="72838"/>
                    <a:pt x="348068" y="95468"/>
                    <a:pt x="348159" y="123422"/>
                  </a:cubicBezTo>
                  <a:lnTo>
                    <a:pt x="471319" y="123422"/>
                  </a:lnTo>
                  <a:lnTo>
                    <a:pt x="471319" y="108836"/>
                  </a:lnTo>
                  <a:lnTo>
                    <a:pt x="471206" y="94239"/>
                  </a:lnTo>
                  <a:cubicBezTo>
                    <a:pt x="471206" y="42210"/>
                    <a:pt x="429018" y="11"/>
                    <a:pt x="376989" y="11"/>
                  </a:cubicBez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0EC06BA2-462D-3BF6-B1D2-7608A47329A9}"/>
                </a:ext>
              </a:extLst>
            </p:cNvPr>
            <p:cNvSpPr/>
            <p:nvPr/>
          </p:nvSpPr>
          <p:spPr bwMode="gray">
            <a:xfrm>
              <a:off x="1013066" y="4892449"/>
              <a:ext cx="14" cy="31"/>
            </a:xfrm>
            <a:custGeom>
              <a:avLst/>
              <a:gdLst>
                <a:gd name="connsiteX0" fmla="*/ 0 w 56"/>
                <a:gd name="connsiteY0" fmla="*/ 125 h 125"/>
                <a:gd name="connsiteX1" fmla="*/ 57 w 56"/>
                <a:gd name="connsiteY1" fmla="*/ 125 h 125"/>
                <a:gd name="connsiteX2" fmla="*/ 57 w 56"/>
                <a:gd name="connsiteY2" fmla="*/ 0 h 125"/>
                <a:gd name="connsiteX3" fmla="*/ 0 w 56"/>
                <a:gd name="connsiteY3" fmla="*/ 125 h 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25">
                  <a:moveTo>
                    <a:pt x="0" y="125"/>
                  </a:moveTo>
                  <a:lnTo>
                    <a:pt x="57" y="125"/>
                  </a:lnTo>
                  <a:cubicBezTo>
                    <a:pt x="57" y="125"/>
                    <a:pt x="57" y="46"/>
                    <a:pt x="57" y="0"/>
                  </a:cubicBezTo>
                  <a:lnTo>
                    <a:pt x="0" y="125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22FFBB5C-95D4-D856-0DF5-536D99833C37}"/>
                </a:ext>
              </a:extLst>
            </p:cNvPr>
            <p:cNvSpPr/>
            <p:nvPr/>
          </p:nvSpPr>
          <p:spPr bwMode="gray">
            <a:xfrm>
              <a:off x="1013066" y="4830411"/>
              <a:ext cx="14" cy="37"/>
            </a:xfrm>
            <a:custGeom>
              <a:avLst/>
              <a:gdLst>
                <a:gd name="connsiteX0" fmla="*/ 57 w 56"/>
                <a:gd name="connsiteY0" fmla="*/ 148 h 147"/>
                <a:gd name="connsiteX1" fmla="*/ 57 w 56"/>
                <a:gd name="connsiteY1" fmla="*/ 0 h 147"/>
                <a:gd name="connsiteX2" fmla="*/ 0 w 56"/>
                <a:gd name="connsiteY2" fmla="*/ 0 h 147"/>
                <a:gd name="connsiteX3" fmla="*/ 57 w 56"/>
                <a:gd name="connsiteY3" fmla="*/ 148 h 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" h="147">
                  <a:moveTo>
                    <a:pt x="57" y="148"/>
                  </a:moveTo>
                  <a:cubicBezTo>
                    <a:pt x="57" y="148"/>
                    <a:pt x="57" y="46"/>
                    <a:pt x="57" y="0"/>
                  </a:cubicBezTo>
                  <a:lnTo>
                    <a:pt x="0" y="0"/>
                  </a:lnTo>
                  <a:lnTo>
                    <a:pt x="57" y="148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150DCBE-ABDA-0169-41C9-DEE32A488517}"/>
                </a:ext>
              </a:extLst>
            </p:cNvPr>
            <p:cNvSpPr/>
            <p:nvPr/>
          </p:nvSpPr>
          <p:spPr bwMode="gray">
            <a:xfrm>
              <a:off x="783005" y="4799352"/>
              <a:ext cx="146271" cy="124150"/>
            </a:xfrm>
            <a:custGeom>
              <a:avLst/>
              <a:gdLst>
                <a:gd name="connsiteX0" fmla="*/ 138281 w 580712"/>
                <a:gd name="connsiteY0" fmla="*/ 492880 h 492890"/>
                <a:gd name="connsiteX1" fmla="*/ 183654 w 580712"/>
                <a:gd name="connsiteY1" fmla="*/ 391587 h 492890"/>
                <a:gd name="connsiteX2" fmla="*/ 396820 w 580712"/>
                <a:gd name="connsiteY2" fmla="*/ 391587 h 492890"/>
                <a:gd name="connsiteX3" fmla="*/ 441886 w 580712"/>
                <a:gd name="connsiteY3" fmla="*/ 492754 h 492890"/>
                <a:gd name="connsiteX4" fmla="*/ 580713 w 580712"/>
                <a:gd name="connsiteY4" fmla="*/ 492754 h 492890"/>
                <a:gd name="connsiteX5" fmla="*/ 348523 w 580712"/>
                <a:gd name="connsiteY5" fmla="*/ 0 h 492890"/>
                <a:gd name="connsiteX6" fmla="*/ 232190 w 580712"/>
                <a:gd name="connsiteY6" fmla="*/ 0 h 492890"/>
                <a:gd name="connsiteX7" fmla="*/ 0 w 580712"/>
                <a:gd name="connsiteY7" fmla="*/ 492891 h 492890"/>
                <a:gd name="connsiteX8" fmla="*/ 138269 w 580712"/>
                <a:gd name="connsiteY8" fmla="*/ 492868 h 492890"/>
                <a:gd name="connsiteX9" fmla="*/ 290192 w 580712"/>
                <a:gd name="connsiteY9" fmla="*/ 152229 h 492890"/>
                <a:gd name="connsiteX10" fmla="*/ 364543 w 580712"/>
                <a:gd name="connsiteY10" fmla="*/ 319033 h 492890"/>
                <a:gd name="connsiteX11" fmla="*/ 215522 w 580712"/>
                <a:gd name="connsiteY11" fmla="*/ 319147 h 492890"/>
                <a:gd name="connsiteX12" fmla="*/ 290180 w 580712"/>
                <a:gd name="connsiteY12" fmla="*/ 152229 h 492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0712" h="492890">
                  <a:moveTo>
                    <a:pt x="138281" y="492880"/>
                  </a:moveTo>
                  <a:lnTo>
                    <a:pt x="183654" y="391587"/>
                  </a:lnTo>
                  <a:lnTo>
                    <a:pt x="396820" y="391587"/>
                  </a:lnTo>
                  <a:lnTo>
                    <a:pt x="441886" y="492754"/>
                  </a:lnTo>
                  <a:lnTo>
                    <a:pt x="580713" y="492754"/>
                  </a:lnTo>
                  <a:lnTo>
                    <a:pt x="348523" y="0"/>
                  </a:lnTo>
                  <a:lnTo>
                    <a:pt x="232190" y="0"/>
                  </a:lnTo>
                  <a:lnTo>
                    <a:pt x="0" y="492891"/>
                  </a:lnTo>
                  <a:lnTo>
                    <a:pt x="138269" y="492868"/>
                  </a:lnTo>
                  <a:close/>
                  <a:moveTo>
                    <a:pt x="290192" y="152229"/>
                  </a:moveTo>
                  <a:lnTo>
                    <a:pt x="364543" y="319033"/>
                  </a:lnTo>
                  <a:lnTo>
                    <a:pt x="215522" y="319147"/>
                  </a:lnTo>
                  <a:lnTo>
                    <a:pt x="290180" y="152229"/>
                  </a:lnTo>
                  <a:close/>
                </a:path>
              </a:pathLst>
            </a:custGeom>
            <a:solidFill>
              <a:srgbClr val="FFFFFF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200B4AFD-07B0-CF2E-BF96-4DD575A7266B}"/>
              </a:ext>
            </a:extLst>
          </p:cNvPr>
          <p:cNvGrpSpPr>
            <a:grpSpLocks/>
          </p:cNvGrpSpPr>
          <p:nvPr/>
        </p:nvGrpSpPr>
        <p:grpSpPr bwMode="gray">
          <a:xfrm>
            <a:off x="7196400" y="4685083"/>
            <a:ext cx="1370937" cy="113374"/>
            <a:chOff x="1151970" y="4799186"/>
            <a:chExt cx="1510114" cy="124884"/>
          </a:xfrm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E8C394AA-88BB-21A2-3CA1-AB903E114779}"/>
                </a:ext>
              </a:extLst>
            </p:cNvPr>
            <p:cNvSpPr/>
            <p:nvPr/>
          </p:nvSpPr>
          <p:spPr bwMode="gray">
            <a:xfrm>
              <a:off x="2169164" y="4817375"/>
              <a:ext cx="61198" cy="88394"/>
            </a:xfrm>
            <a:custGeom>
              <a:avLst/>
              <a:gdLst>
                <a:gd name="connsiteX0" fmla="*/ 191959 w 242964"/>
                <a:gd name="connsiteY0" fmla="*/ 0 h 350935"/>
                <a:gd name="connsiteX1" fmla="*/ 51028 w 242964"/>
                <a:gd name="connsiteY1" fmla="*/ 0 h 350935"/>
                <a:gd name="connsiteX2" fmla="*/ 0 w 242964"/>
                <a:gd name="connsiteY2" fmla="*/ 51016 h 350935"/>
                <a:gd name="connsiteX3" fmla="*/ 0 w 242964"/>
                <a:gd name="connsiteY3" fmla="*/ 299908 h 350935"/>
                <a:gd name="connsiteX4" fmla="*/ 51028 w 242964"/>
                <a:gd name="connsiteY4" fmla="*/ 350935 h 350935"/>
                <a:gd name="connsiteX5" fmla="*/ 191959 w 242964"/>
                <a:gd name="connsiteY5" fmla="*/ 350935 h 350935"/>
                <a:gd name="connsiteX6" fmla="*/ 242964 w 242964"/>
                <a:gd name="connsiteY6" fmla="*/ 299908 h 350935"/>
                <a:gd name="connsiteX7" fmla="*/ 242964 w 242964"/>
                <a:gd name="connsiteY7" fmla="*/ 51028 h 350935"/>
                <a:gd name="connsiteX8" fmla="*/ 191959 w 242964"/>
                <a:gd name="connsiteY8" fmla="*/ 0 h 35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2964" h="350935">
                  <a:moveTo>
                    <a:pt x="191959" y="0"/>
                  </a:moveTo>
                  <a:lnTo>
                    <a:pt x="51028" y="0"/>
                  </a:lnTo>
                  <a:cubicBezTo>
                    <a:pt x="22858" y="0"/>
                    <a:pt x="0" y="22846"/>
                    <a:pt x="0" y="51016"/>
                  </a:cubicBezTo>
                  <a:lnTo>
                    <a:pt x="0" y="299908"/>
                  </a:lnTo>
                  <a:cubicBezTo>
                    <a:pt x="0" y="328078"/>
                    <a:pt x="22858" y="350935"/>
                    <a:pt x="51028" y="350935"/>
                  </a:cubicBezTo>
                  <a:lnTo>
                    <a:pt x="191959" y="350935"/>
                  </a:lnTo>
                  <a:cubicBezTo>
                    <a:pt x="220130" y="350935"/>
                    <a:pt x="242964" y="328078"/>
                    <a:pt x="242964" y="299908"/>
                  </a:cubicBezTo>
                  <a:lnTo>
                    <a:pt x="242964" y="51028"/>
                  </a:lnTo>
                  <a:cubicBezTo>
                    <a:pt x="242964" y="22846"/>
                    <a:pt x="220130" y="0"/>
                    <a:pt x="191959" y="0"/>
                  </a:cubicBezTo>
                  <a:close/>
                </a:path>
              </a:pathLst>
            </a:custGeom>
            <a:noFill/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8CDDBC82-2F8A-00AA-32CE-69B704A630C5}"/>
                </a:ext>
              </a:extLst>
            </p:cNvPr>
            <p:cNvSpPr/>
            <p:nvPr/>
          </p:nvSpPr>
          <p:spPr bwMode="gray">
            <a:xfrm>
              <a:off x="2281806" y="4799240"/>
              <a:ext cx="123076" cy="124658"/>
            </a:xfrm>
            <a:custGeom>
              <a:avLst/>
              <a:gdLst>
                <a:gd name="connsiteX0" fmla="*/ 370140 w 488624"/>
                <a:gd name="connsiteY0" fmla="*/ 11 h 494904"/>
                <a:gd name="connsiteX1" fmla="*/ 370140 w 488624"/>
                <a:gd name="connsiteY1" fmla="*/ 313424 h 494904"/>
                <a:gd name="connsiteX2" fmla="*/ 146120 w 488624"/>
                <a:gd name="connsiteY2" fmla="*/ 11 h 494904"/>
                <a:gd name="connsiteX3" fmla="*/ 637 w 488624"/>
                <a:gd name="connsiteY3" fmla="*/ 11 h 494904"/>
                <a:gd name="connsiteX4" fmla="*/ 0 w 488624"/>
                <a:gd name="connsiteY4" fmla="*/ 494905 h 494904"/>
                <a:gd name="connsiteX5" fmla="*/ 131705 w 488624"/>
                <a:gd name="connsiteY5" fmla="*/ 494882 h 494904"/>
                <a:gd name="connsiteX6" fmla="*/ 131068 w 488624"/>
                <a:gd name="connsiteY6" fmla="*/ 199514 h 494904"/>
                <a:gd name="connsiteX7" fmla="*/ 352153 w 488624"/>
                <a:gd name="connsiteY7" fmla="*/ 494882 h 494904"/>
                <a:gd name="connsiteX8" fmla="*/ 488625 w 488624"/>
                <a:gd name="connsiteY8" fmla="*/ 494882 h 494904"/>
                <a:gd name="connsiteX9" fmla="*/ 487942 w 488624"/>
                <a:gd name="connsiteY9" fmla="*/ 0 h 494904"/>
                <a:gd name="connsiteX10" fmla="*/ 370152 w 488624"/>
                <a:gd name="connsiteY10" fmla="*/ 0 h 494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624" h="494904">
                  <a:moveTo>
                    <a:pt x="370140" y="11"/>
                  </a:moveTo>
                  <a:lnTo>
                    <a:pt x="370140" y="313424"/>
                  </a:lnTo>
                  <a:cubicBezTo>
                    <a:pt x="303162" y="211824"/>
                    <a:pt x="213099" y="101634"/>
                    <a:pt x="146120" y="11"/>
                  </a:cubicBezTo>
                  <a:lnTo>
                    <a:pt x="637" y="11"/>
                  </a:lnTo>
                  <a:lnTo>
                    <a:pt x="0" y="494905"/>
                  </a:lnTo>
                  <a:lnTo>
                    <a:pt x="131705" y="494882"/>
                  </a:lnTo>
                  <a:lnTo>
                    <a:pt x="131068" y="199514"/>
                  </a:lnTo>
                  <a:lnTo>
                    <a:pt x="352153" y="494882"/>
                  </a:lnTo>
                  <a:lnTo>
                    <a:pt x="488625" y="494882"/>
                  </a:lnTo>
                  <a:lnTo>
                    <a:pt x="487942" y="0"/>
                  </a:lnTo>
                  <a:lnTo>
                    <a:pt x="370152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BEA21D1-F321-6514-49B0-9404E5C5A19F}"/>
                </a:ext>
              </a:extLst>
            </p:cNvPr>
            <p:cNvSpPr/>
            <p:nvPr/>
          </p:nvSpPr>
          <p:spPr bwMode="gray">
            <a:xfrm>
              <a:off x="1966345" y="4799243"/>
              <a:ext cx="108782" cy="124649"/>
            </a:xfrm>
            <a:custGeom>
              <a:avLst/>
              <a:gdLst>
                <a:gd name="connsiteX0" fmla="*/ 0 w 431874"/>
                <a:gd name="connsiteY0" fmla="*/ 66979 h 494870"/>
                <a:gd name="connsiteX1" fmla="*/ 157350 w 431874"/>
                <a:gd name="connsiteY1" fmla="*/ 67479 h 494870"/>
                <a:gd name="connsiteX2" fmla="*/ 157053 w 431874"/>
                <a:gd name="connsiteY2" fmla="*/ 494233 h 494870"/>
                <a:gd name="connsiteX3" fmla="*/ 277313 w 431874"/>
                <a:gd name="connsiteY3" fmla="*/ 494871 h 494870"/>
                <a:gd name="connsiteX4" fmla="*/ 277130 w 431874"/>
                <a:gd name="connsiteY4" fmla="*/ 66979 h 494870"/>
                <a:gd name="connsiteX5" fmla="*/ 431874 w 431874"/>
                <a:gd name="connsiteY5" fmla="*/ 66979 h 494870"/>
                <a:gd name="connsiteX6" fmla="*/ 431874 w 431874"/>
                <a:gd name="connsiteY6" fmla="*/ 0 h 494870"/>
                <a:gd name="connsiteX7" fmla="*/ 0 w 431874"/>
                <a:gd name="connsiteY7" fmla="*/ 0 h 494870"/>
                <a:gd name="connsiteX8" fmla="*/ 0 w 431874"/>
                <a:gd name="connsiteY8" fmla="*/ 66979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1874" h="494870">
                  <a:moveTo>
                    <a:pt x="0" y="66979"/>
                  </a:moveTo>
                  <a:lnTo>
                    <a:pt x="157350" y="67479"/>
                  </a:lnTo>
                  <a:lnTo>
                    <a:pt x="157053" y="494233"/>
                  </a:lnTo>
                  <a:lnTo>
                    <a:pt x="277313" y="494871"/>
                  </a:lnTo>
                  <a:lnTo>
                    <a:pt x="277130" y="66979"/>
                  </a:lnTo>
                  <a:lnTo>
                    <a:pt x="431874" y="66979"/>
                  </a:lnTo>
                  <a:lnTo>
                    <a:pt x="431874" y="0"/>
                  </a:lnTo>
                  <a:lnTo>
                    <a:pt x="0" y="0"/>
                  </a:lnTo>
                  <a:lnTo>
                    <a:pt x="0" y="66979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43DAE5E6-F8F9-5926-7F4A-91A10F22F0CB}"/>
                </a:ext>
              </a:extLst>
            </p:cNvPr>
            <p:cNvSpPr/>
            <p:nvPr/>
          </p:nvSpPr>
          <p:spPr bwMode="gray">
            <a:xfrm>
              <a:off x="1718399" y="4799186"/>
              <a:ext cx="123041" cy="124709"/>
            </a:xfrm>
            <a:custGeom>
              <a:avLst/>
              <a:gdLst>
                <a:gd name="connsiteX0" fmla="*/ 369844 w 488487"/>
                <a:gd name="connsiteY0" fmla="*/ 313413 h 495109"/>
                <a:gd name="connsiteX1" fmla="*/ 145824 w 488487"/>
                <a:gd name="connsiteY1" fmla="*/ 0 h 495109"/>
                <a:gd name="connsiteX2" fmla="*/ 318 w 488487"/>
                <a:gd name="connsiteY2" fmla="*/ 0 h 495109"/>
                <a:gd name="connsiteX3" fmla="*/ 0 w 488487"/>
                <a:gd name="connsiteY3" fmla="*/ 495109 h 495109"/>
                <a:gd name="connsiteX4" fmla="*/ 130157 w 488487"/>
                <a:gd name="connsiteY4" fmla="*/ 494882 h 495109"/>
                <a:gd name="connsiteX5" fmla="*/ 130783 w 488487"/>
                <a:gd name="connsiteY5" fmla="*/ 199514 h 495109"/>
                <a:gd name="connsiteX6" fmla="*/ 351868 w 488487"/>
                <a:gd name="connsiteY6" fmla="*/ 494882 h 495109"/>
                <a:gd name="connsiteX7" fmla="*/ 488328 w 488487"/>
                <a:gd name="connsiteY7" fmla="*/ 494882 h 495109"/>
                <a:gd name="connsiteX8" fmla="*/ 488488 w 488487"/>
                <a:gd name="connsiteY8" fmla="*/ 0 h 495109"/>
                <a:gd name="connsiteX9" fmla="*/ 369844 w 488487"/>
                <a:gd name="connsiteY9" fmla="*/ 0 h 495109"/>
                <a:gd name="connsiteX10" fmla="*/ 369844 w 488487"/>
                <a:gd name="connsiteY10" fmla="*/ 313413 h 495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487" h="495109">
                  <a:moveTo>
                    <a:pt x="369844" y="313413"/>
                  </a:moveTo>
                  <a:cubicBezTo>
                    <a:pt x="302866" y="211813"/>
                    <a:pt x="212803" y="101623"/>
                    <a:pt x="145824" y="0"/>
                  </a:cubicBezTo>
                  <a:lnTo>
                    <a:pt x="318" y="0"/>
                  </a:lnTo>
                  <a:lnTo>
                    <a:pt x="0" y="495109"/>
                  </a:lnTo>
                  <a:lnTo>
                    <a:pt x="130157" y="494882"/>
                  </a:lnTo>
                  <a:lnTo>
                    <a:pt x="130783" y="199514"/>
                  </a:lnTo>
                  <a:lnTo>
                    <a:pt x="351868" y="494882"/>
                  </a:lnTo>
                  <a:lnTo>
                    <a:pt x="488328" y="494882"/>
                  </a:lnTo>
                  <a:lnTo>
                    <a:pt x="488488" y="0"/>
                  </a:lnTo>
                  <a:lnTo>
                    <a:pt x="369844" y="0"/>
                  </a:lnTo>
                  <a:lnTo>
                    <a:pt x="369844" y="31341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F389B93E-C48C-10E3-4257-F53CB16D04B5}"/>
                </a:ext>
              </a:extLst>
            </p:cNvPr>
            <p:cNvSpPr/>
            <p:nvPr/>
          </p:nvSpPr>
          <p:spPr bwMode="gray">
            <a:xfrm>
              <a:off x="2561447" y="4799243"/>
              <a:ext cx="100637" cy="124827"/>
            </a:xfrm>
            <a:custGeom>
              <a:avLst/>
              <a:gdLst>
                <a:gd name="connsiteX0" fmla="*/ 121328 w 399539"/>
                <a:gd name="connsiteY0" fmla="*/ 428893 h 495575"/>
                <a:gd name="connsiteX1" fmla="*/ 121328 w 399539"/>
                <a:gd name="connsiteY1" fmla="*/ 0 h 495575"/>
                <a:gd name="connsiteX2" fmla="*/ 1229 w 399539"/>
                <a:gd name="connsiteY2" fmla="*/ 0 h 495575"/>
                <a:gd name="connsiteX3" fmla="*/ 0 w 399539"/>
                <a:gd name="connsiteY3" fmla="*/ 495576 h 495575"/>
                <a:gd name="connsiteX4" fmla="*/ 399539 w 399539"/>
                <a:gd name="connsiteY4" fmla="*/ 495576 h 495575"/>
                <a:gd name="connsiteX5" fmla="*/ 399539 w 399539"/>
                <a:gd name="connsiteY5" fmla="*/ 428597 h 495575"/>
                <a:gd name="connsiteX6" fmla="*/ 121328 w 399539"/>
                <a:gd name="connsiteY6" fmla="*/ 428893 h 495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99539" h="495575">
                  <a:moveTo>
                    <a:pt x="121328" y="428893"/>
                  </a:moveTo>
                  <a:lnTo>
                    <a:pt x="121328" y="0"/>
                  </a:lnTo>
                  <a:lnTo>
                    <a:pt x="1229" y="0"/>
                  </a:lnTo>
                  <a:lnTo>
                    <a:pt x="0" y="495576"/>
                  </a:lnTo>
                  <a:lnTo>
                    <a:pt x="399539" y="495576"/>
                  </a:lnTo>
                  <a:lnTo>
                    <a:pt x="399539" y="428597"/>
                  </a:lnTo>
                  <a:lnTo>
                    <a:pt x="121328" y="42889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EF09A37A-751A-FBCD-E4D0-93E0B54B46C8}"/>
                </a:ext>
              </a:extLst>
            </p:cNvPr>
            <p:cNvSpPr/>
            <p:nvPr/>
          </p:nvSpPr>
          <p:spPr bwMode="gray">
            <a:xfrm>
              <a:off x="1336379" y="4799243"/>
              <a:ext cx="108784" cy="124649"/>
            </a:xfrm>
            <a:custGeom>
              <a:avLst/>
              <a:gdLst>
                <a:gd name="connsiteX0" fmla="*/ 0 w 431885"/>
                <a:gd name="connsiteY0" fmla="*/ 66979 h 494870"/>
                <a:gd name="connsiteX1" fmla="*/ 157349 w 431885"/>
                <a:gd name="connsiteY1" fmla="*/ 67479 h 494870"/>
                <a:gd name="connsiteX2" fmla="*/ 157042 w 431885"/>
                <a:gd name="connsiteY2" fmla="*/ 494233 h 494870"/>
                <a:gd name="connsiteX3" fmla="*/ 277324 w 431885"/>
                <a:gd name="connsiteY3" fmla="*/ 494871 h 494870"/>
                <a:gd name="connsiteX4" fmla="*/ 277153 w 431885"/>
                <a:gd name="connsiteY4" fmla="*/ 66979 h 494870"/>
                <a:gd name="connsiteX5" fmla="*/ 431885 w 431885"/>
                <a:gd name="connsiteY5" fmla="*/ 66979 h 494870"/>
                <a:gd name="connsiteX6" fmla="*/ 431885 w 431885"/>
                <a:gd name="connsiteY6" fmla="*/ 0 h 494870"/>
                <a:gd name="connsiteX7" fmla="*/ 0 w 431885"/>
                <a:gd name="connsiteY7" fmla="*/ 0 h 494870"/>
                <a:gd name="connsiteX8" fmla="*/ 0 w 431885"/>
                <a:gd name="connsiteY8" fmla="*/ 66979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1885" h="494870">
                  <a:moveTo>
                    <a:pt x="0" y="66979"/>
                  </a:moveTo>
                  <a:lnTo>
                    <a:pt x="157349" y="67479"/>
                  </a:lnTo>
                  <a:lnTo>
                    <a:pt x="157042" y="494233"/>
                  </a:lnTo>
                  <a:lnTo>
                    <a:pt x="277324" y="494871"/>
                  </a:lnTo>
                  <a:lnTo>
                    <a:pt x="277153" y="66979"/>
                  </a:lnTo>
                  <a:lnTo>
                    <a:pt x="431885" y="66979"/>
                  </a:lnTo>
                  <a:lnTo>
                    <a:pt x="431885" y="0"/>
                  </a:lnTo>
                  <a:lnTo>
                    <a:pt x="0" y="0"/>
                  </a:lnTo>
                  <a:lnTo>
                    <a:pt x="0" y="66979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CC63C683-159C-1032-C6FA-16495C473469}"/>
                </a:ext>
              </a:extLst>
            </p:cNvPr>
            <p:cNvSpPr/>
            <p:nvPr/>
          </p:nvSpPr>
          <p:spPr bwMode="gray">
            <a:xfrm>
              <a:off x="1457377" y="4799243"/>
              <a:ext cx="107039" cy="124489"/>
            </a:xfrm>
            <a:custGeom>
              <a:avLst/>
              <a:gdLst>
                <a:gd name="connsiteX0" fmla="*/ 0 w 424956"/>
                <a:gd name="connsiteY0" fmla="*/ 494233 h 494233"/>
                <a:gd name="connsiteX1" fmla="*/ 424956 w 424956"/>
                <a:gd name="connsiteY1" fmla="*/ 494233 h 494233"/>
                <a:gd name="connsiteX2" fmla="*/ 424956 w 424956"/>
                <a:gd name="connsiteY2" fmla="*/ 429564 h 494233"/>
                <a:gd name="connsiteX3" fmla="*/ 125379 w 424956"/>
                <a:gd name="connsiteY3" fmla="*/ 428893 h 494233"/>
                <a:gd name="connsiteX4" fmla="*/ 124730 w 424956"/>
                <a:gd name="connsiteY4" fmla="*/ 284048 h 494233"/>
                <a:gd name="connsiteX5" fmla="*/ 374156 w 424956"/>
                <a:gd name="connsiteY5" fmla="*/ 284048 h 494233"/>
                <a:gd name="connsiteX6" fmla="*/ 374156 w 424956"/>
                <a:gd name="connsiteY6" fmla="*/ 212473 h 494233"/>
                <a:gd name="connsiteX7" fmla="*/ 125379 w 424956"/>
                <a:gd name="connsiteY7" fmla="*/ 212962 h 494233"/>
                <a:gd name="connsiteX8" fmla="*/ 124730 w 424956"/>
                <a:gd name="connsiteY8" fmla="*/ 66979 h 494233"/>
                <a:gd name="connsiteX9" fmla="*/ 424956 w 424956"/>
                <a:gd name="connsiteY9" fmla="*/ 66979 h 494233"/>
                <a:gd name="connsiteX10" fmla="*/ 424956 w 424956"/>
                <a:gd name="connsiteY10" fmla="*/ 0 h 494233"/>
                <a:gd name="connsiteX11" fmla="*/ 0 w 424956"/>
                <a:gd name="connsiteY11" fmla="*/ 0 h 494233"/>
                <a:gd name="connsiteX12" fmla="*/ 0 w 424956"/>
                <a:gd name="connsiteY12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4956" h="494233">
                  <a:moveTo>
                    <a:pt x="0" y="494233"/>
                  </a:moveTo>
                  <a:lnTo>
                    <a:pt x="424956" y="494233"/>
                  </a:lnTo>
                  <a:lnTo>
                    <a:pt x="424956" y="429564"/>
                  </a:lnTo>
                  <a:lnTo>
                    <a:pt x="125379" y="428893"/>
                  </a:lnTo>
                  <a:lnTo>
                    <a:pt x="124730" y="284048"/>
                  </a:lnTo>
                  <a:lnTo>
                    <a:pt x="374156" y="284048"/>
                  </a:lnTo>
                  <a:lnTo>
                    <a:pt x="374156" y="212473"/>
                  </a:lnTo>
                  <a:lnTo>
                    <a:pt x="125379" y="212962"/>
                  </a:lnTo>
                  <a:lnTo>
                    <a:pt x="124730" y="66979"/>
                  </a:lnTo>
                  <a:lnTo>
                    <a:pt x="424956" y="66979"/>
                  </a:lnTo>
                  <a:lnTo>
                    <a:pt x="424956" y="0"/>
                  </a:lnTo>
                  <a:lnTo>
                    <a:pt x="0" y="0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63D1AFF8-9817-955E-400D-5CAADC9B90CA}"/>
                </a:ext>
              </a:extLst>
            </p:cNvPr>
            <p:cNvSpPr/>
            <p:nvPr/>
          </p:nvSpPr>
          <p:spPr bwMode="gray">
            <a:xfrm>
              <a:off x="1151970" y="4799469"/>
              <a:ext cx="29087" cy="124489"/>
            </a:xfrm>
            <a:custGeom>
              <a:avLst/>
              <a:gdLst>
                <a:gd name="connsiteX0" fmla="*/ 0 w 115480"/>
                <a:gd name="connsiteY0" fmla="*/ 0 h 494233"/>
                <a:gd name="connsiteX1" fmla="*/ 115480 w 115480"/>
                <a:gd name="connsiteY1" fmla="*/ 0 h 494233"/>
                <a:gd name="connsiteX2" fmla="*/ 115480 w 115480"/>
                <a:gd name="connsiteY2" fmla="*/ 494233 h 494233"/>
                <a:gd name="connsiteX3" fmla="*/ 0 w 115480"/>
                <a:gd name="connsiteY3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480" h="494233">
                  <a:moveTo>
                    <a:pt x="0" y="0"/>
                  </a:moveTo>
                  <a:lnTo>
                    <a:pt x="115480" y="0"/>
                  </a:lnTo>
                  <a:lnTo>
                    <a:pt x="115480" y="494233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693163D2-DCAF-76F5-1210-C6C2C824BF86}"/>
                </a:ext>
              </a:extLst>
            </p:cNvPr>
            <p:cNvSpPr/>
            <p:nvPr/>
          </p:nvSpPr>
          <p:spPr bwMode="gray">
            <a:xfrm>
              <a:off x="1201556" y="4799240"/>
              <a:ext cx="123079" cy="124658"/>
            </a:xfrm>
            <a:custGeom>
              <a:avLst/>
              <a:gdLst>
                <a:gd name="connsiteX0" fmla="*/ 370163 w 488635"/>
                <a:gd name="connsiteY0" fmla="*/ 11 h 494904"/>
                <a:gd name="connsiteX1" fmla="*/ 370163 w 488635"/>
                <a:gd name="connsiteY1" fmla="*/ 313424 h 494904"/>
                <a:gd name="connsiteX2" fmla="*/ 146142 w 488635"/>
                <a:gd name="connsiteY2" fmla="*/ 11 h 494904"/>
                <a:gd name="connsiteX3" fmla="*/ 637 w 488635"/>
                <a:gd name="connsiteY3" fmla="*/ 11 h 494904"/>
                <a:gd name="connsiteX4" fmla="*/ 0 w 488635"/>
                <a:gd name="connsiteY4" fmla="*/ 494905 h 494904"/>
                <a:gd name="connsiteX5" fmla="*/ 131716 w 488635"/>
                <a:gd name="connsiteY5" fmla="*/ 494882 h 494904"/>
                <a:gd name="connsiteX6" fmla="*/ 131079 w 488635"/>
                <a:gd name="connsiteY6" fmla="*/ 199514 h 494904"/>
                <a:gd name="connsiteX7" fmla="*/ 352164 w 488635"/>
                <a:gd name="connsiteY7" fmla="*/ 494882 h 494904"/>
                <a:gd name="connsiteX8" fmla="*/ 488636 w 488635"/>
                <a:gd name="connsiteY8" fmla="*/ 494882 h 494904"/>
                <a:gd name="connsiteX9" fmla="*/ 487942 w 488635"/>
                <a:gd name="connsiteY9" fmla="*/ 0 h 494904"/>
                <a:gd name="connsiteX10" fmla="*/ 370152 w 488635"/>
                <a:gd name="connsiteY10" fmla="*/ 0 h 494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8635" h="494904">
                  <a:moveTo>
                    <a:pt x="370163" y="11"/>
                  </a:moveTo>
                  <a:lnTo>
                    <a:pt x="370163" y="313424"/>
                  </a:lnTo>
                  <a:cubicBezTo>
                    <a:pt x="303196" y="211824"/>
                    <a:pt x="213121" y="101634"/>
                    <a:pt x="146142" y="11"/>
                  </a:cubicBezTo>
                  <a:lnTo>
                    <a:pt x="637" y="11"/>
                  </a:lnTo>
                  <a:lnTo>
                    <a:pt x="0" y="494905"/>
                  </a:lnTo>
                  <a:lnTo>
                    <a:pt x="131716" y="494882"/>
                  </a:lnTo>
                  <a:lnTo>
                    <a:pt x="131079" y="199514"/>
                  </a:lnTo>
                  <a:lnTo>
                    <a:pt x="352164" y="494882"/>
                  </a:lnTo>
                  <a:lnTo>
                    <a:pt x="488636" y="494882"/>
                  </a:lnTo>
                  <a:lnTo>
                    <a:pt x="487942" y="0"/>
                  </a:lnTo>
                  <a:lnTo>
                    <a:pt x="370152" y="0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B03395DC-056A-4569-6FC2-213C6518ADD3}"/>
                </a:ext>
              </a:extLst>
            </p:cNvPr>
            <p:cNvSpPr/>
            <p:nvPr/>
          </p:nvSpPr>
          <p:spPr bwMode="gray">
            <a:xfrm>
              <a:off x="2085942" y="4799469"/>
              <a:ext cx="31414" cy="124489"/>
            </a:xfrm>
            <a:custGeom>
              <a:avLst/>
              <a:gdLst>
                <a:gd name="connsiteX0" fmla="*/ 0 w 124718"/>
                <a:gd name="connsiteY0" fmla="*/ 0 h 494233"/>
                <a:gd name="connsiteX1" fmla="*/ 124719 w 124718"/>
                <a:gd name="connsiteY1" fmla="*/ 0 h 494233"/>
                <a:gd name="connsiteX2" fmla="*/ 124719 w 124718"/>
                <a:gd name="connsiteY2" fmla="*/ 494233 h 494233"/>
                <a:gd name="connsiteX3" fmla="*/ 0 w 124718"/>
                <a:gd name="connsiteY3" fmla="*/ 494233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18" h="494233">
                  <a:moveTo>
                    <a:pt x="0" y="0"/>
                  </a:moveTo>
                  <a:lnTo>
                    <a:pt x="124719" y="0"/>
                  </a:lnTo>
                  <a:lnTo>
                    <a:pt x="124719" y="494233"/>
                  </a:lnTo>
                  <a:lnTo>
                    <a:pt x="0" y="494233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DF13BB94-46A6-5355-0E82-F86D6FBFC3EC}"/>
                </a:ext>
              </a:extLst>
            </p:cNvPr>
            <p:cNvSpPr/>
            <p:nvPr/>
          </p:nvSpPr>
          <p:spPr bwMode="gray">
            <a:xfrm>
              <a:off x="1580123" y="4799467"/>
              <a:ext cx="126819" cy="124489"/>
            </a:xfrm>
            <a:custGeom>
              <a:avLst/>
              <a:gdLst>
                <a:gd name="connsiteX0" fmla="*/ 387866 w 503483"/>
                <a:gd name="connsiteY0" fmla="*/ 275048 h 494233"/>
                <a:gd name="connsiteX1" fmla="*/ 489899 w 503483"/>
                <a:gd name="connsiteY1" fmla="*/ 173027 h 494233"/>
                <a:gd name="connsiteX2" fmla="*/ 489899 w 503483"/>
                <a:gd name="connsiteY2" fmla="*/ 102032 h 494233"/>
                <a:gd name="connsiteX3" fmla="*/ 387866 w 503483"/>
                <a:gd name="connsiteY3" fmla="*/ 0 h 494233"/>
                <a:gd name="connsiteX4" fmla="*/ 0 w 503483"/>
                <a:gd name="connsiteY4" fmla="*/ 0 h 494233"/>
                <a:gd name="connsiteX5" fmla="*/ 0 w 503483"/>
                <a:gd name="connsiteY5" fmla="*/ 494233 h 494233"/>
                <a:gd name="connsiteX6" fmla="*/ 134458 w 503483"/>
                <a:gd name="connsiteY6" fmla="*/ 493983 h 494233"/>
                <a:gd name="connsiteX7" fmla="*/ 133958 w 503483"/>
                <a:gd name="connsiteY7" fmla="*/ 274832 h 494233"/>
                <a:gd name="connsiteX8" fmla="*/ 198626 w 503483"/>
                <a:gd name="connsiteY8" fmla="*/ 274832 h 494233"/>
                <a:gd name="connsiteX9" fmla="*/ 357989 w 503483"/>
                <a:gd name="connsiteY9" fmla="*/ 494233 h 494233"/>
                <a:gd name="connsiteX10" fmla="*/ 503484 w 503483"/>
                <a:gd name="connsiteY10" fmla="*/ 494006 h 494233"/>
                <a:gd name="connsiteX11" fmla="*/ 345930 w 503483"/>
                <a:gd name="connsiteY11" fmla="*/ 275048 h 494233"/>
                <a:gd name="connsiteX12" fmla="*/ 387878 w 503483"/>
                <a:gd name="connsiteY12" fmla="*/ 275048 h 494233"/>
                <a:gd name="connsiteX13" fmla="*/ 135494 w 503483"/>
                <a:gd name="connsiteY13" fmla="*/ 204577 h 494233"/>
                <a:gd name="connsiteX14" fmla="*/ 135971 w 503483"/>
                <a:gd name="connsiteY14" fmla="*/ 64100 h 494233"/>
                <a:gd name="connsiteX15" fmla="*/ 315905 w 503483"/>
                <a:gd name="connsiteY15" fmla="*/ 64100 h 494233"/>
                <a:gd name="connsiteX16" fmla="*/ 366932 w 503483"/>
                <a:gd name="connsiteY16" fmla="*/ 115116 h 494233"/>
                <a:gd name="connsiteX17" fmla="*/ 366932 w 503483"/>
                <a:gd name="connsiteY17" fmla="*/ 153572 h 494233"/>
                <a:gd name="connsiteX18" fmla="*/ 315905 w 503483"/>
                <a:gd name="connsiteY18" fmla="*/ 204588 h 494233"/>
                <a:gd name="connsiteX19" fmla="*/ 135482 w 503483"/>
                <a:gd name="connsiteY19" fmla="*/ 204588 h 49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3483" h="494233">
                  <a:moveTo>
                    <a:pt x="387866" y="275048"/>
                  </a:moveTo>
                  <a:cubicBezTo>
                    <a:pt x="444196" y="275048"/>
                    <a:pt x="489899" y="229379"/>
                    <a:pt x="489899" y="173027"/>
                  </a:cubicBezTo>
                  <a:lnTo>
                    <a:pt x="489899" y="102032"/>
                  </a:lnTo>
                  <a:cubicBezTo>
                    <a:pt x="489899" y="45680"/>
                    <a:pt x="444207" y="0"/>
                    <a:pt x="387866" y="0"/>
                  </a:cubicBezTo>
                  <a:lnTo>
                    <a:pt x="0" y="0"/>
                  </a:lnTo>
                  <a:lnTo>
                    <a:pt x="0" y="494233"/>
                  </a:lnTo>
                  <a:lnTo>
                    <a:pt x="134458" y="493983"/>
                  </a:lnTo>
                  <a:lnTo>
                    <a:pt x="133958" y="274832"/>
                  </a:lnTo>
                  <a:lnTo>
                    <a:pt x="198626" y="274832"/>
                  </a:lnTo>
                  <a:lnTo>
                    <a:pt x="357989" y="494233"/>
                  </a:lnTo>
                  <a:lnTo>
                    <a:pt x="503484" y="494006"/>
                  </a:lnTo>
                  <a:lnTo>
                    <a:pt x="345930" y="275048"/>
                  </a:lnTo>
                  <a:lnTo>
                    <a:pt x="387878" y="275048"/>
                  </a:lnTo>
                  <a:close/>
                  <a:moveTo>
                    <a:pt x="135494" y="204577"/>
                  </a:moveTo>
                  <a:lnTo>
                    <a:pt x="135971" y="64100"/>
                  </a:lnTo>
                  <a:lnTo>
                    <a:pt x="315905" y="64100"/>
                  </a:lnTo>
                  <a:cubicBezTo>
                    <a:pt x="344064" y="64100"/>
                    <a:pt x="366932" y="86946"/>
                    <a:pt x="366932" y="115116"/>
                  </a:cubicBezTo>
                  <a:lnTo>
                    <a:pt x="366932" y="153572"/>
                  </a:lnTo>
                  <a:cubicBezTo>
                    <a:pt x="366932" y="181742"/>
                    <a:pt x="344075" y="204588"/>
                    <a:pt x="315905" y="204588"/>
                  </a:cubicBezTo>
                  <a:lnTo>
                    <a:pt x="135482" y="204588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3266840E-8CCF-8152-BE74-F1B8CC5581B9}"/>
                </a:ext>
              </a:extLst>
            </p:cNvPr>
            <p:cNvSpPr/>
            <p:nvPr/>
          </p:nvSpPr>
          <p:spPr bwMode="gray">
            <a:xfrm>
              <a:off x="2137440" y="4799243"/>
              <a:ext cx="124652" cy="124649"/>
            </a:xfrm>
            <a:custGeom>
              <a:avLst/>
              <a:gdLst>
                <a:gd name="connsiteX0" fmla="*/ 392861 w 494881"/>
                <a:gd name="connsiteY0" fmla="*/ 0 h 494870"/>
                <a:gd name="connsiteX1" fmla="*/ 102021 w 494881"/>
                <a:gd name="connsiteY1" fmla="*/ 0 h 494870"/>
                <a:gd name="connsiteX2" fmla="*/ 0 w 494881"/>
                <a:gd name="connsiteY2" fmla="*/ 102021 h 494870"/>
                <a:gd name="connsiteX3" fmla="*/ 0 w 494881"/>
                <a:gd name="connsiteY3" fmla="*/ 392850 h 494870"/>
                <a:gd name="connsiteX4" fmla="*/ 102021 w 494881"/>
                <a:gd name="connsiteY4" fmla="*/ 494871 h 494870"/>
                <a:gd name="connsiteX5" fmla="*/ 392861 w 494881"/>
                <a:gd name="connsiteY5" fmla="*/ 494871 h 494870"/>
                <a:gd name="connsiteX6" fmla="*/ 494882 w 494881"/>
                <a:gd name="connsiteY6" fmla="*/ 392850 h 494870"/>
                <a:gd name="connsiteX7" fmla="*/ 494882 w 494881"/>
                <a:gd name="connsiteY7" fmla="*/ 102032 h 494870"/>
                <a:gd name="connsiteX8" fmla="*/ 392861 w 494881"/>
                <a:gd name="connsiteY8" fmla="*/ 0 h 494870"/>
                <a:gd name="connsiteX9" fmla="*/ 368912 w 494881"/>
                <a:gd name="connsiteY9" fmla="*/ 371892 h 494870"/>
                <a:gd name="connsiteX10" fmla="*/ 317907 w 494881"/>
                <a:gd name="connsiteY10" fmla="*/ 422920 h 494870"/>
                <a:gd name="connsiteX11" fmla="*/ 176975 w 494881"/>
                <a:gd name="connsiteY11" fmla="*/ 422920 h 494870"/>
                <a:gd name="connsiteX12" fmla="*/ 125947 w 494881"/>
                <a:gd name="connsiteY12" fmla="*/ 371892 h 494870"/>
                <a:gd name="connsiteX13" fmla="*/ 125947 w 494881"/>
                <a:gd name="connsiteY13" fmla="*/ 123001 h 494870"/>
                <a:gd name="connsiteX14" fmla="*/ 176975 w 494881"/>
                <a:gd name="connsiteY14" fmla="*/ 71985 h 494870"/>
                <a:gd name="connsiteX15" fmla="*/ 317907 w 494881"/>
                <a:gd name="connsiteY15" fmla="*/ 71985 h 494870"/>
                <a:gd name="connsiteX16" fmla="*/ 368912 w 494881"/>
                <a:gd name="connsiteY16" fmla="*/ 123012 h 494870"/>
                <a:gd name="connsiteX17" fmla="*/ 368912 w 494881"/>
                <a:gd name="connsiteY17" fmla="*/ 371892 h 49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4881" h="494870">
                  <a:moveTo>
                    <a:pt x="392861" y="0"/>
                  </a:moveTo>
                  <a:lnTo>
                    <a:pt x="102021" y="0"/>
                  </a:lnTo>
                  <a:cubicBezTo>
                    <a:pt x="45669" y="0"/>
                    <a:pt x="-12" y="45669"/>
                    <a:pt x="0" y="102021"/>
                  </a:cubicBezTo>
                  <a:lnTo>
                    <a:pt x="0" y="392850"/>
                  </a:lnTo>
                  <a:cubicBezTo>
                    <a:pt x="0" y="449213"/>
                    <a:pt x="45669" y="494871"/>
                    <a:pt x="102021" y="494871"/>
                  </a:cubicBezTo>
                  <a:lnTo>
                    <a:pt x="392861" y="494871"/>
                  </a:lnTo>
                  <a:cubicBezTo>
                    <a:pt x="449202" y="494871"/>
                    <a:pt x="494882" y="449213"/>
                    <a:pt x="494882" y="392850"/>
                  </a:cubicBezTo>
                  <a:lnTo>
                    <a:pt x="494882" y="102032"/>
                  </a:lnTo>
                  <a:cubicBezTo>
                    <a:pt x="494882" y="45680"/>
                    <a:pt x="449213" y="0"/>
                    <a:pt x="392861" y="0"/>
                  </a:cubicBezTo>
                  <a:close/>
                  <a:moveTo>
                    <a:pt x="368912" y="371892"/>
                  </a:moveTo>
                  <a:cubicBezTo>
                    <a:pt x="368912" y="400063"/>
                    <a:pt x="346077" y="422920"/>
                    <a:pt x="317907" y="422920"/>
                  </a:cubicBezTo>
                  <a:lnTo>
                    <a:pt x="176975" y="422920"/>
                  </a:lnTo>
                  <a:cubicBezTo>
                    <a:pt x="148805" y="422920"/>
                    <a:pt x="125947" y="400063"/>
                    <a:pt x="125947" y="371892"/>
                  </a:cubicBezTo>
                  <a:lnTo>
                    <a:pt x="125947" y="123001"/>
                  </a:lnTo>
                  <a:cubicBezTo>
                    <a:pt x="125947" y="94830"/>
                    <a:pt x="148805" y="71985"/>
                    <a:pt x="176975" y="71985"/>
                  </a:cubicBezTo>
                  <a:lnTo>
                    <a:pt x="317907" y="71985"/>
                  </a:lnTo>
                  <a:cubicBezTo>
                    <a:pt x="346077" y="71985"/>
                    <a:pt x="368912" y="94830"/>
                    <a:pt x="368912" y="123012"/>
                  </a:cubicBezTo>
                  <a:lnTo>
                    <a:pt x="368912" y="371892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ABDE4717-E6E5-32C8-EA2D-44CA32B611A5}"/>
                </a:ext>
              </a:extLst>
            </p:cNvPr>
            <p:cNvSpPr/>
            <p:nvPr/>
          </p:nvSpPr>
          <p:spPr bwMode="gray">
            <a:xfrm>
              <a:off x="2409957" y="4799243"/>
              <a:ext cx="146644" cy="124471"/>
            </a:xfrm>
            <a:custGeom>
              <a:avLst/>
              <a:gdLst>
                <a:gd name="connsiteX0" fmla="*/ 232781 w 582191"/>
                <a:gd name="connsiteY0" fmla="*/ 0 h 494165"/>
                <a:gd name="connsiteX1" fmla="*/ 0 w 582191"/>
                <a:gd name="connsiteY1" fmla="*/ 494165 h 494165"/>
                <a:gd name="connsiteX2" fmla="*/ 138622 w 582191"/>
                <a:gd name="connsiteY2" fmla="*/ 494142 h 494165"/>
                <a:gd name="connsiteX3" fmla="*/ 184109 w 582191"/>
                <a:gd name="connsiteY3" fmla="*/ 392576 h 494165"/>
                <a:gd name="connsiteX4" fmla="*/ 397844 w 582191"/>
                <a:gd name="connsiteY4" fmla="*/ 392576 h 494165"/>
                <a:gd name="connsiteX5" fmla="*/ 443024 w 582191"/>
                <a:gd name="connsiteY5" fmla="*/ 494029 h 494165"/>
                <a:gd name="connsiteX6" fmla="*/ 582192 w 582191"/>
                <a:gd name="connsiteY6" fmla="*/ 494029 h 494165"/>
                <a:gd name="connsiteX7" fmla="*/ 349411 w 582191"/>
                <a:gd name="connsiteY7" fmla="*/ 0 h 494165"/>
                <a:gd name="connsiteX8" fmla="*/ 232770 w 582191"/>
                <a:gd name="connsiteY8" fmla="*/ 0 h 494165"/>
                <a:gd name="connsiteX9" fmla="*/ 216091 w 582191"/>
                <a:gd name="connsiteY9" fmla="*/ 319966 h 494165"/>
                <a:gd name="connsiteX10" fmla="*/ 290954 w 582191"/>
                <a:gd name="connsiteY10" fmla="*/ 152616 h 494165"/>
                <a:gd name="connsiteX11" fmla="*/ 365498 w 582191"/>
                <a:gd name="connsiteY11" fmla="*/ 319852 h 494165"/>
                <a:gd name="connsiteX12" fmla="*/ 216091 w 582191"/>
                <a:gd name="connsiteY12" fmla="*/ 319966 h 494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2191" h="494165">
                  <a:moveTo>
                    <a:pt x="232781" y="0"/>
                  </a:moveTo>
                  <a:lnTo>
                    <a:pt x="0" y="494165"/>
                  </a:lnTo>
                  <a:lnTo>
                    <a:pt x="138622" y="494142"/>
                  </a:lnTo>
                  <a:lnTo>
                    <a:pt x="184109" y="392576"/>
                  </a:lnTo>
                  <a:lnTo>
                    <a:pt x="397844" y="392576"/>
                  </a:lnTo>
                  <a:lnTo>
                    <a:pt x="443024" y="494029"/>
                  </a:lnTo>
                  <a:lnTo>
                    <a:pt x="582192" y="494029"/>
                  </a:lnTo>
                  <a:lnTo>
                    <a:pt x="349411" y="0"/>
                  </a:lnTo>
                  <a:lnTo>
                    <a:pt x="232770" y="0"/>
                  </a:lnTo>
                  <a:close/>
                  <a:moveTo>
                    <a:pt x="216091" y="319966"/>
                  </a:moveTo>
                  <a:lnTo>
                    <a:pt x="290954" y="152616"/>
                  </a:lnTo>
                  <a:lnTo>
                    <a:pt x="365498" y="319852"/>
                  </a:lnTo>
                  <a:lnTo>
                    <a:pt x="216091" y="319966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0048509C-AE88-40EB-DCE8-589FD39CD00A}"/>
                </a:ext>
              </a:extLst>
            </p:cNvPr>
            <p:cNvSpPr/>
            <p:nvPr/>
          </p:nvSpPr>
          <p:spPr bwMode="gray">
            <a:xfrm>
              <a:off x="1845992" y="4799243"/>
              <a:ext cx="146647" cy="124471"/>
            </a:xfrm>
            <a:custGeom>
              <a:avLst/>
              <a:gdLst>
                <a:gd name="connsiteX0" fmla="*/ 232781 w 582202"/>
                <a:gd name="connsiteY0" fmla="*/ 0 h 494165"/>
                <a:gd name="connsiteX1" fmla="*/ 0 w 582202"/>
                <a:gd name="connsiteY1" fmla="*/ 494165 h 494165"/>
                <a:gd name="connsiteX2" fmla="*/ 138622 w 582202"/>
                <a:gd name="connsiteY2" fmla="*/ 494142 h 494165"/>
                <a:gd name="connsiteX3" fmla="*/ 184131 w 582202"/>
                <a:gd name="connsiteY3" fmla="*/ 392576 h 494165"/>
                <a:gd name="connsiteX4" fmla="*/ 397833 w 582202"/>
                <a:gd name="connsiteY4" fmla="*/ 392576 h 494165"/>
                <a:gd name="connsiteX5" fmla="*/ 443012 w 582202"/>
                <a:gd name="connsiteY5" fmla="*/ 494029 h 494165"/>
                <a:gd name="connsiteX6" fmla="*/ 582203 w 582202"/>
                <a:gd name="connsiteY6" fmla="*/ 494029 h 494165"/>
                <a:gd name="connsiteX7" fmla="*/ 349399 w 582202"/>
                <a:gd name="connsiteY7" fmla="*/ 0 h 494165"/>
                <a:gd name="connsiteX8" fmla="*/ 232770 w 582202"/>
                <a:gd name="connsiteY8" fmla="*/ 0 h 494165"/>
                <a:gd name="connsiteX9" fmla="*/ 216090 w 582202"/>
                <a:gd name="connsiteY9" fmla="*/ 319966 h 494165"/>
                <a:gd name="connsiteX10" fmla="*/ 290942 w 582202"/>
                <a:gd name="connsiteY10" fmla="*/ 152616 h 494165"/>
                <a:gd name="connsiteX11" fmla="*/ 365487 w 582202"/>
                <a:gd name="connsiteY11" fmla="*/ 319852 h 494165"/>
                <a:gd name="connsiteX12" fmla="*/ 216090 w 582202"/>
                <a:gd name="connsiteY12" fmla="*/ 319966 h 494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2202" h="494165">
                  <a:moveTo>
                    <a:pt x="232781" y="0"/>
                  </a:moveTo>
                  <a:lnTo>
                    <a:pt x="0" y="494165"/>
                  </a:lnTo>
                  <a:lnTo>
                    <a:pt x="138622" y="494142"/>
                  </a:lnTo>
                  <a:lnTo>
                    <a:pt x="184131" y="392576"/>
                  </a:lnTo>
                  <a:lnTo>
                    <a:pt x="397833" y="392576"/>
                  </a:lnTo>
                  <a:lnTo>
                    <a:pt x="443012" y="494029"/>
                  </a:lnTo>
                  <a:lnTo>
                    <a:pt x="582203" y="494029"/>
                  </a:lnTo>
                  <a:lnTo>
                    <a:pt x="349399" y="0"/>
                  </a:lnTo>
                  <a:lnTo>
                    <a:pt x="232770" y="0"/>
                  </a:lnTo>
                  <a:close/>
                  <a:moveTo>
                    <a:pt x="216090" y="319966"/>
                  </a:moveTo>
                  <a:lnTo>
                    <a:pt x="290942" y="152616"/>
                  </a:lnTo>
                  <a:lnTo>
                    <a:pt x="365487" y="319852"/>
                  </a:lnTo>
                  <a:lnTo>
                    <a:pt x="216090" y="319966"/>
                  </a:lnTo>
                  <a:close/>
                </a:path>
              </a:pathLst>
            </a:custGeom>
            <a:solidFill>
              <a:srgbClr val="E2001A"/>
            </a:solidFill>
            <a:ln w="11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</p:grp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B9F9AA7-B724-9966-ECA6-50EDD1FD26A6}"/>
              </a:ext>
            </a:extLst>
          </p:cNvPr>
          <p:cNvCxnSpPr>
            <a:cxnSpLocks/>
          </p:cNvCxnSpPr>
          <p:nvPr/>
        </p:nvCxnSpPr>
        <p:spPr bwMode="gray">
          <a:xfrm>
            <a:off x="7121138" y="4683919"/>
            <a:ext cx="0" cy="459581"/>
          </a:xfrm>
          <a:prstGeom prst="line">
            <a:avLst/>
          </a:prstGeom>
          <a:ln w="9525">
            <a:solidFill>
              <a:srgbClr val="E2001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61">
            <a:extLst>
              <a:ext uri="{FF2B5EF4-FFF2-40B4-BE49-F238E27FC236}">
                <a16:creationId xmlns:a16="http://schemas.microsoft.com/office/drawing/2014/main" id="{04942B3E-AF9B-0C87-9B5B-037C7658539A}"/>
              </a:ext>
            </a:extLst>
          </p:cNvPr>
          <p:cNvSpPr txBox="1"/>
          <p:nvPr/>
        </p:nvSpPr>
        <p:spPr bwMode="gray">
          <a:xfrm>
            <a:off x="66678" y="4903764"/>
            <a:ext cx="254632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fld id="{32E94CFB-AE89-45BA-9EC0-C30924367499}" type="slidenum">
              <a:rPr lang="de-DE" sz="700" b="1" spc="20" noProof="0" smtClean="0">
                <a:solidFill>
                  <a:srgbClr val="E2001A"/>
                </a:solidFill>
                <a:latin typeface="Arial" panose="020B0604020202020204" pitchFamily="34" charset="0"/>
              </a:rPr>
              <a:t>‹nº›</a:t>
            </a:fld>
            <a:endParaRPr lang="de-DE" sz="700" b="1" spc="20" noProof="0" dirty="0">
              <a:solidFill>
                <a:srgbClr val="E2001A"/>
              </a:solidFill>
              <a:latin typeface="Arial" panose="020B0604020202020204" pitchFamily="34" charset="0"/>
            </a:endParaRP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7C256B7A-DF77-0051-46E5-F797D365326A}"/>
              </a:ext>
            </a:extLst>
          </p:cNvPr>
          <p:cNvSpPr txBox="1"/>
          <p:nvPr/>
        </p:nvSpPr>
        <p:spPr bwMode="gray">
          <a:xfrm>
            <a:off x="576263" y="4910907"/>
            <a:ext cx="6476538" cy="923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de-DE" sz="600" noProof="0">
                <a:solidFill>
                  <a:schemeClr val="accent1"/>
                </a:solidFill>
                <a:latin typeface="Arial" panose="020B0604020202020204" pitchFamily="34" charset="0"/>
              </a:rPr>
              <a:t>All rights reserved, also regarding any disposal, exploitation, reproduction, editing, distribution, as well as in the event of applications for industrial property rights.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724D9149-61F8-E99B-ADBA-ADE09FD00325}"/>
              </a:ext>
            </a:extLst>
          </p:cNvPr>
          <p:cNvSpPr txBox="1"/>
          <p:nvPr/>
        </p:nvSpPr>
        <p:spPr bwMode="gray">
          <a:xfrm>
            <a:off x="7195836" y="4910907"/>
            <a:ext cx="1232710" cy="9233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de-DE" sz="600" noProof="0" dirty="0">
                <a:solidFill>
                  <a:schemeClr val="accent1"/>
                </a:solidFill>
                <a:latin typeface="Arial" panose="020B0604020202020204" pitchFamily="34" charset="0"/>
              </a:rPr>
              <a:t>© 2023 HYDAC International GmbH</a:t>
            </a:r>
          </a:p>
        </p:txBody>
      </p:sp>
    </p:spTree>
    <p:extLst>
      <p:ext uri="{BB962C8B-B14F-4D97-AF65-F5344CB8AC3E}">
        <p14:creationId xmlns:p14="http://schemas.microsoft.com/office/powerpoint/2010/main" val="1291972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3" r:id="rId2"/>
    <p:sldLayoutId id="2147483662" r:id="rId3"/>
    <p:sldLayoutId id="2147483661" r:id="rId4"/>
    <p:sldLayoutId id="2147483652" r:id="rId5"/>
    <p:sldLayoutId id="2147483655" r:id="rId6"/>
    <p:sldLayoutId id="2147483654" r:id="rId7"/>
    <p:sldLayoutId id="2147483656" r:id="rId8"/>
    <p:sldLayoutId id="2147483657" r:id="rId9"/>
    <p:sldLayoutId id="2147483658" r:id="rId10"/>
    <p:sldLayoutId id="2147483659" r:id="rId11"/>
    <p:sldLayoutId id="2147483664" r:id="rId12"/>
    <p:sldLayoutId id="2147483660" r:id="rId13"/>
    <p:sldLayoutId id="2147483663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7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2"/>
        </a:buClr>
        <a:buFont typeface="Wingdings" panose="05000000000000000000" pitchFamily="2" charset="2"/>
        <a:buChar char="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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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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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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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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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 userDrawn="1">
          <p15:clr>
            <a:srgbClr val="FBAE40"/>
          </p15:clr>
        </p15:guide>
        <p15:guide id="2" orient="horz" pos="158" userDrawn="1">
          <p15:clr>
            <a:srgbClr val="FBAE40"/>
          </p15:clr>
        </p15:guide>
        <p15:guide id="3" pos="5397" userDrawn="1">
          <p15:clr>
            <a:srgbClr val="FBAE40"/>
          </p15:clr>
        </p15:guide>
        <p15:guide id="4" orient="horz" pos="2799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5" Type="http://schemas.openxmlformats.org/officeDocument/2006/relationships/image" Target="../media/image13.png"/><Relationship Id="rId4" Type="http://schemas.openxmlformats.org/officeDocument/2006/relationships/image" Target="../media/image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5" Type="http://schemas.openxmlformats.org/officeDocument/2006/relationships/image" Target="../media/image14.png"/><Relationship Id="rId4" Type="http://schemas.openxmlformats.org/officeDocument/2006/relationships/image" Target="../media/image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oleObject" Target="../embeddings/oleObject5.bin"/><Relationship Id="rId7" Type="http://schemas.openxmlformats.org/officeDocument/2006/relationships/hyperlink" Target="https://www.youtube.com/watch?v=pheMA-u8qRM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12.png"/><Relationship Id="rId5" Type="http://schemas.openxmlformats.org/officeDocument/2006/relationships/image" Target="../media/image19.png"/><Relationship Id="rId4" Type="http://schemas.openxmlformats.org/officeDocument/2006/relationships/image" Target="../media/image3.emf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9" Type="http://schemas.openxmlformats.org/officeDocument/2006/relationships/image" Target="../media/image26.png"/><Relationship Id="rId21" Type="http://schemas.openxmlformats.org/officeDocument/2006/relationships/tags" Target="../tags/tag43.xml"/><Relationship Id="rId34" Type="http://schemas.openxmlformats.org/officeDocument/2006/relationships/image" Target="../media/image22.png"/><Relationship Id="rId42" Type="http://schemas.openxmlformats.org/officeDocument/2006/relationships/image" Target="../media/image29.png"/><Relationship Id="rId47" Type="http://schemas.microsoft.com/office/2007/relationships/hdphoto" Target="../media/hdphoto1.wdp"/><Relationship Id="rId50" Type="http://schemas.openxmlformats.org/officeDocument/2006/relationships/image" Target="../media/image35.png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9" Type="http://schemas.openxmlformats.org/officeDocument/2006/relationships/tags" Target="../tags/tag51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image" Target="../media/image3.emf"/><Relationship Id="rId37" Type="http://schemas.openxmlformats.org/officeDocument/2006/relationships/image" Target="../media/image19.png"/><Relationship Id="rId40" Type="http://schemas.openxmlformats.org/officeDocument/2006/relationships/image" Target="../media/image27.png"/><Relationship Id="rId45" Type="http://schemas.openxmlformats.org/officeDocument/2006/relationships/image" Target="../media/image32.png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image" Target="../media/image24.png"/><Relationship Id="rId49" Type="http://schemas.openxmlformats.org/officeDocument/2006/relationships/image" Target="../media/image9.jpeg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oleObject" Target="../embeddings/oleObject5.bin"/><Relationship Id="rId44" Type="http://schemas.openxmlformats.org/officeDocument/2006/relationships/image" Target="../media/image31.jpeg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slideLayout" Target="../slideLayouts/slideLayout4.xml"/><Relationship Id="rId35" Type="http://schemas.openxmlformats.org/officeDocument/2006/relationships/image" Target="../media/image23.png"/><Relationship Id="rId43" Type="http://schemas.openxmlformats.org/officeDocument/2006/relationships/image" Target="../media/image30.png"/><Relationship Id="rId48" Type="http://schemas.openxmlformats.org/officeDocument/2006/relationships/image" Target="../media/image34.jpg"/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image" Target="../media/image21.png"/><Relationship Id="rId38" Type="http://schemas.openxmlformats.org/officeDocument/2006/relationships/image" Target="../media/image25.png"/><Relationship Id="rId46" Type="http://schemas.openxmlformats.org/officeDocument/2006/relationships/image" Target="../media/image33.png"/><Relationship Id="rId20" Type="http://schemas.openxmlformats.org/officeDocument/2006/relationships/tags" Target="../tags/tag42.xml"/><Relationship Id="rId41" Type="http://schemas.openxmlformats.org/officeDocument/2006/relationships/image" Target="../media/image28.png"/><Relationship Id="rId1" Type="http://schemas.openxmlformats.org/officeDocument/2006/relationships/tags" Target="../tags/tag23.xml"/><Relationship Id="rId6" Type="http://schemas.openxmlformats.org/officeDocument/2006/relationships/tags" Target="../tags/tag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3.emf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5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6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7.xml"/><Relationship Id="rId4" Type="http://schemas.openxmlformats.org/officeDocument/2006/relationships/image" Target="../media/image3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8.xml"/><Relationship Id="rId6" Type="http://schemas.openxmlformats.org/officeDocument/2006/relationships/image" Target="../media/image37.jpe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.emf"/><Relationship Id="rId9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6.jpe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oleObject" Target="../embeddings/oleObject4.bin"/><Relationship Id="rId5" Type="http://schemas.openxmlformats.org/officeDocument/2006/relationships/tags" Target="../tags/tag9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04BFFA1-4B0E-7E84-06DA-9CECA2761C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05570" y="1488129"/>
            <a:ext cx="4238799" cy="738664"/>
          </a:xfrm>
        </p:spPr>
        <p:txBody>
          <a:bodyPr/>
          <a:lstStyle/>
          <a:p>
            <a:r>
              <a:rPr lang="pt-BR" dirty="0"/>
              <a:t>Apresentação </a:t>
            </a:r>
            <a:r>
              <a:rPr lang="pt-BR" dirty="0" err="1"/>
              <a:t>Hydac</a:t>
            </a:r>
            <a:r>
              <a:rPr lang="pt-BR" dirty="0"/>
              <a:t> SFC </a:t>
            </a:r>
            <a:r>
              <a:rPr lang="pt-BR" dirty="0" err="1"/>
              <a:t>Smart</a:t>
            </a:r>
            <a:r>
              <a:rPr lang="pt-BR" dirty="0"/>
              <a:t> Fluid Connection  +Service</a:t>
            </a: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122E5F73-104F-46F2-97EC-1CD39F006E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5570" y="2380899"/>
            <a:ext cx="3107312" cy="2287939"/>
          </a:xfrm>
        </p:spPr>
        <p:txBody>
          <a:bodyPr/>
          <a:lstStyle/>
          <a:p>
            <a:pPr>
              <a:spcAft>
                <a:spcPts val="200"/>
              </a:spcAft>
            </a:pPr>
            <a:r>
              <a:rPr lang="de-DE" dirty="0"/>
              <a:t>Solução Hidraulica para Mercado Hidroelétrico!</a:t>
            </a:r>
          </a:p>
          <a:p>
            <a:pPr>
              <a:spcAft>
                <a:spcPts val="200"/>
              </a:spcAft>
            </a:pPr>
            <a:endParaRPr lang="de-DE" dirty="0"/>
          </a:p>
          <a:p>
            <a:pPr>
              <a:spcAft>
                <a:spcPts val="200"/>
              </a:spcAft>
            </a:pPr>
            <a:r>
              <a:rPr lang="pt-BR" sz="1600" b="1" i="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</a:rPr>
              <a:t>ABRAPCH - VII CONFERÊNCIA NACIONAL DE PCHs e </a:t>
            </a:r>
            <a:r>
              <a:rPr lang="pt-BR" sz="1600" b="1" i="0" dirty="0" err="1">
                <a:solidFill>
                  <a:schemeClr val="bg1">
                    <a:lumMod val="75000"/>
                  </a:schemeClr>
                </a:solidFill>
                <a:effectLst/>
                <a:latin typeface="+mj-lt"/>
              </a:rPr>
              <a:t>CGHs</a:t>
            </a:r>
            <a:r>
              <a:rPr lang="pt-BR" sz="1600" b="1" i="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</a:rPr>
              <a:t> </a:t>
            </a:r>
            <a:endParaRPr lang="de-DE" sz="1600" dirty="0"/>
          </a:p>
        </p:txBody>
      </p:sp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7BEC3A1A-4C94-011B-0E38-AEA25501CFD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390" b="390"/>
          <a:stretch>
            <a:fillRect/>
          </a:stretch>
        </p:blipFill>
        <p:spPr>
          <a:xfrm>
            <a:off x="5184775" y="1068388"/>
            <a:ext cx="3959225" cy="3600450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82C6AF69-7458-49BE-A9E2-A6DBB9B9B9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9717" y="3867342"/>
            <a:ext cx="1154446" cy="63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6110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E8B512B-0BB7-285E-7259-C5F7D5A30B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E8B512B-0BB7-285E-7259-C5F7D5A30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7A489-C07F-DF3C-F0D9-54184C723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.</a:t>
            </a:r>
            <a:br>
              <a:rPr lang="de-DE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7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quê o SFC?</a:t>
            </a:r>
            <a:endParaRPr lang="de-DE" sz="17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2F952EF-B5F1-C929-6F60-EA773725FD9C}"/>
              </a:ext>
            </a:extLst>
          </p:cNvPr>
          <p:cNvSpPr txBox="1">
            <a:spLocks/>
          </p:cNvSpPr>
          <p:nvPr/>
        </p:nvSpPr>
        <p:spPr>
          <a:xfrm>
            <a:off x="576262" y="1058864"/>
            <a:ext cx="2366723" cy="3384546"/>
          </a:xfrm>
          <a:prstGeom prst="rect">
            <a:avLst/>
          </a:prstGeom>
        </p:spPr>
        <p:txBody>
          <a:bodyPr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tenção Inteligente.</a:t>
            </a:r>
          </a:p>
          <a:p>
            <a:pPr marL="0" indent="0" defTabSz="457200">
              <a:buFont typeface="Wingdings" panose="05000000000000000000" pitchFamily="2" charset="2"/>
              <a:buNone/>
            </a:pPr>
            <a:endParaRPr lang="de-DE" sz="1200" b="1" dirty="0">
              <a:solidFill>
                <a:srgbClr val="E2001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Importante para Redução de Custos.</a:t>
            </a:r>
          </a:p>
        </p:txBody>
      </p:sp>
      <p:pic>
        <p:nvPicPr>
          <p:cNvPr id="3" name="Picture 2" descr="Reactive Vs. Preventive Vs. Predictive Maintenance | Prometheus Group">
            <a:extLst>
              <a:ext uri="{FF2B5EF4-FFF2-40B4-BE49-F238E27FC236}">
                <a16:creationId xmlns:a16="http://schemas.microsoft.com/office/drawing/2014/main" id="{A3F3BF89-3D4B-EB42-E429-10EEFA4F94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807" t="8451" r="1676" b="7666"/>
          <a:stretch/>
        </p:blipFill>
        <p:spPr bwMode="auto">
          <a:xfrm>
            <a:off x="7010737" y="914411"/>
            <a:ext cx="2085912" cy="3272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Reactive Vs. Preventive Vs. Predictive Maintenance | Prometheus Group">
            <a:extLst>
              <a:ext uri="{FF2B5EF4-FFF2-40B4-BE49-F238E27FC236}">
                <a16:creationId xmlns:a16="http://schemas.microsoft.com/office/drawing/2014/main" id="{7FAC7F8B-0877-A8E2-3167-CC43BB939B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85" t="7735" r="37416" b="8381"/>
          <a:stretch/>
        </p:blipFill>
        <p:spPr bwMode="auto">
          <a:xfrm>
            <a:off x="4923734" y="914411"/>
            <a:ext cx="1967569" cy="3272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Reactive Vs. Preventive Vs. Predictive Maintenance | Prometheus Group">
            <a:extLst>
              <a:ext uri="{FF2B5EF4-FFF2-40B4-BE49-F238E27FC236}">
                <a16:creationId xmlns:a16="http://schemas.microsoft.com/office/drawing/2014/main" id="{3B892156-04AD-D5CB-4160-78E5D76E77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0" t="8122" r="68421" b="7995"/>
          <a:stretch/>
        </p:blipFill>
        <p:spPr bwMode="auto">
          <a:xfrm>
            <a:off x="2826459" y="914411"/>
            <a:ext cx="1967569" cy="3272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Agrupar 9">
            <a:extLst>
              <a:ext uri="{FF2B5EF4-FFF2-40B4-BE49-F238E27FC236}">
                <a16:creationId xmlns:a16="http://schemas.microsoft.com/office/drawing/2014/main" id="{1C691DE2-EEB8-23FA-B4AD-571D7FF0F35F}"/>
              </a:ext>
            </a:extLst>
          </p:cNvPr>
          <p:cNvGrpSpPr/>
          <p:nvPr/>
        </p:nvGrpSpPr>
        <p:grpSpPr>
          <a:xfrm>
            <a:off x="2826459" y="4223526"/>
            <a:ext cx="5935861" cy="420837"/>
            <a:chOff x="2697074" y="5024202"/>
            <a:chExt cx="6253068" cy="929029"/>
          </a:xfrm>
        </p:grpSpPr>
        <p:grpSp>
          <p:nvGrpSpPr>
            <p:cNvPr id="11" name="Gruppieren 54">
              <a:extLst>
                <a:ext uri="{FF2B5EF4-FFF2-40B4-BE49-F238E27FC236}">
                  <a16:creationId xmlns:a16="http://schemas.microsoft.com/office/drawing/2014/main" id="{8AFA1723-C70E-E366-907C-DBC6CC39901C}"/>
                </a:ext>
              </a:extLst>
            </p:cNvPr>
            <p:cNvGrpSpPr/>
            <p:nvPr/>
          </p:nvGrpSpPr>
          <p:grpSpPr>
            <a:xfrm rot="5400000">
              <a:off x="6014018" y="3017106"/>
              <a:ext cx="929028" cy="4943221"/>
              <a:chOff x="1936888" y="2037221"/>
              <a:chExt cx="720080" cy="2344879"/>
            </a:xfrm>
          </p:grpSpPr>
          <p:sp>
            <p:nvSpPr>
              <p:cNvPr id="16" name="Pfeil nach unten 55">
                <a:extLst>
                  <a:ext uri="{FF2B5EF4-FFF2-40B4-BE49-F238E27FC236}">
                    <a16:creationId xmlns:a16="http://schemas.microsoft.com/office/drawing/2014/main" id="{ADFA46BA-A5C5-31D2-2B75-BB1E6CD00977}"/>
                  </a:ext>
                </a:extLst>
              </p:cNvPr>
              <p:cNvSpPr/>
              <p:nvPr/>
            </p:nvSpPr>
            <p:spPr>
              <a:xfrm rot="10800000">
                <a:off x="1936888" y="2037221"/>
                <a:ext cx="720080" cy="2344879"/>
              </a:xfrm>
              <a:prstGeom prst="downArrow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>
                  <a:cs typeface="Arial" panose="020B0604020202020204" pitchFamily="34" charset="0"/>
                </a:endParaRPr>
              </a:p>
            </p:txBody>
          </p:sp>
          <p:sp>
            <p:nvSpPr>
              <p:cNvPr id="17" name="Textfeld 56">
                <a:extLst>
                  <a:ext uri="{FF2B5EF4-FFF2-40B4-BE49-F238E27FC236}">
                    <a16:creationId xmlns:a16="http://schemas.microsoft.com/office/drawing/2014/main" id="{4CAF3F8A-20DA-D906-007A-D0CE7BA01AF8}"/>
                  </a:ext>
                </a:extLst>
              </p:cNvPr>
              <p:cNvSpPr txBox="1"/>
              <p:nvPr/>
            </p:nvSpPr>
            <p:spPr>
              <a:xfrm rot="16200000">
                <a:off x="2022432" y="3353514"/>
                <a:ext cx="548996" cy="59836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spAutoFit/>
              </a:bodyPr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9pPr>
              </a:lstStyle>
              <a:p>
                <a:r>
                  <a:rPr lang="en-US" dirty="0">
                    <a:solidFill>
                      <a:schemeClr val="bg1">
                        <a:lumMod val="8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     </a:t>
                </a:r>
                <a:r>
                  <a:rPr lang="en-US" b="1" dirty="0">
                    <a:solidFill>
                      <a:schemeClr val="bg1">
                        <a:lumMod val="8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ST</a:t>
                </a:r>
              </a:p>
            </p:txBody>
          </p:sp>
        </p:grpSp>
        <p:grpSp>
          <p:nvGrpSpPr>
            <p:cNvPr id="12" name="Gruppieren 54">
              <a:extLst>
                <a:ext uri="{FF2B5EF4-FFF2-40B4-BE49-F238E27FC236}">
                  <a16:creationId xmlns:a16="http://schemas.microsoft.com/office/drawing/2014/main" id="{0216F35B-9712-A05A-DF6B-DC88A629548F}"/>
                </a:ext>
              </a:extLst>
            </p:cNvPr>
            <p:cNvGrpSpPr/>
            <p:nvPr/>
          </p:nvGrpSpPr>
          <p:grpSpPr>
            <a:xfrm rot="16200000">
              <a:off x="3183777" y="4537499"/>
              <a:ext cx="929028" cy="1902434"/>
              <a:chOff x="1936888" y="2037221"/>
              <a:chExt cx="720080" cy="2344879"/>
            </a:xfrm>
          </p:grpSpPr>
          <p:sp>
            <p:nvSpPr>
              <p:cNvPr id="14" name="Pfeil nach unten 55">
                <a:extLst>
                  <a:ext uri="{FF2B5EF4-FFF2-40B4-BE49-F238E27FC236}">
                    <a16:creationId xmlns:a16="http://schemas.microsoft.com/office/drawing/2014/main" id="{5A862785-2F9F-2C52-2838-039C3C5E0739}"/>
                  </a:ext>
                </a:extLst>
              </p:cNvPr>
              <p:cNvSpPr/>
              <p:nvPr/>
            </p:nvSpPr>
            <p:spPr>
              <a:xfrm rot="10800000">
                <a:off x="1936888" y="2037221"/>
                <a:ext cx="720080" cy="2344879"/>
              </a:xfrm>
              <a:prstGeom prst="downArrow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800" dirty="0">
                    <a:cs typeface="Arial" panose="020B0604020202020204" pitchFamily="34" charset="0"/>
                  </a:rPr>
                  <a:t>+</a:t>
                </a:r>
              </a:p>
            </p:txBody>
          </p:sp>
          <p:sp>
            <p:nvSpPr>
              <p:cNvPr id="15" name="Textfeld 56">
                <a:extLst>
                  <a:ext uri="{FF2B5EF4-FFF2-40B4-BE49-F238E27FC236}">
                    <a16:creationId xmlns:a16="http://schemas.microsoft.com/office/drawing/2014/main" id="{448FAA4A-26C8-D2D2-E632-A746D8CAA5CC}"/>
                  </a:ext>
                </a:extLst>
              </p:cNvPr>
              <p:cNvSpPr txBox="1"/>
              <p:nvPr/>
            </p:nvSpPr>
            <p:spPr>
              <a:xfrm rot="16200000">
                <a:off x="2252083" y="3622343"/>
                <a:ext cx="89691" cy="271050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 anchor="ctr">
                <a:spAutoFit/>
              </a:bodyPr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Calibri" pitchFamily="34" charset="0"/>
                    <a:ea typeface="+mn-ea"/>
                    <a:cs typeface="Arial" charset="0"/>
                  </a:defRPr>
                </a:lvl9pPr>
              </a:lstStyle>
              <a:p>
                <a:endParaRPr lang="en-US" dirty="0">
                  <a:solidFill>
                    <a:schemeClr val="bg1">
                      <a:lumMod val="8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5133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E8B512B-0BB7-285E-7259-C5F7D5A30B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E8B512B-0BB7-285E-7259-C5F7D5A30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7A489-C07F-DF3C-F0D9-54184C723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.</a:t>
            </a:r>
            <a:br>
              <a:rPr lang="de-DE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7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quê o SFC?</a:t>
            </a:r>
            <a:endParaRPr lang="de-DE" sz="17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2F952EF-B5F1-C929-6F60-EA773725FD9C}"/>
              </a:ext>
            </a:extLst>
          </p:cNvPr>
          <p:cNvSpPr txBox="1">
            <a:spLocks/>
          </p:cNvSpPr>
          <p:nvPr/>
        </p:nvSpPr>
        <p:spPr>
          <a:xfrm>
            <a:off x="576262" y="1058864"/>
            <a:ext cx="2712947" cy="3384546"/>
          </a:xfrm>
          <a:prstGeom prst="rect">
            <a:avLst/>
          </a:prstGeom>
        </p:spPr>
        <p:txBody>
          <a:bodyPr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que investir no sistema </a:t>
            </a:r>
          </a:p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draulico?</a:t>
            </a:r>
          </a:p>
          <a:p>
            <a:pPr marL="0" indent="0" defTabSz="457200">
              <a:buFont typeface="Wingdings" panose="05000000000000000000" pitchFamily="2" charset="2"/>
              <a:buNone/>
            </a:pPr>
            <a:endParaRPr lang="de-DE" sz="1200" b="1" dirty="0">
              <a:solidFill>
                <a:srgbClr val="E2001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De acordo com o ciclo de desgaste do equipamento o </a:t>
            </a:r>
            <a:r>
              <a:rPr lang="de-DE" b="1" dirty="0"/>
              <a:t>monitoramento de particulas </a:t>
            </a:r>
            <a:r>
              <a:rPr lang="de-DE" dirty="0"/>
              <a:t>evita a quebra do equipamento.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Prtincipais problemas evitados: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- Travamento das Válvulas Proporcionai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- Contaminação por água do sistema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- Deficiência da Filtração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- Desgaste dos componentes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  <p:pic>
        <p:nvPicPr>
          <p:cNvPr id="3" name="Espaço Reservado para Conteúdo 10" descr="Diagrama&#10;&#10;Descrição gerada automaticamente">
            <a:extLst>
              <a:ext uri="{FF2B5EF4-FFF2-40B4-BE49-F238E27FC236}">
                <a16:creationId xmlns:a16="http://schemas.microsoft.com/office/drawing/2014/main" id="{AEE98A78-B971-2F80-2E25-07E62ED0144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209" y="908843"/>
            <a:ext cx="5406273" cy="362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7310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E8B512B-0BB7-285E-7259-C5F7D5A30B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E8B512B-0BB7-285E-7259-C5F7D5A30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7A489-C07F-DF3C-F0D9-54184C723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.</a:t>
            </a:r>
            <a:br>
              <a:rPr lang="de-DE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7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quê o SFC?</a:t>
            </a:r>
            <a:endParaRPr lang="de-DE" sz="17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2F952EF-B5F1-C929-6F60-EA773725FD9C}"/>
              </a:ext>
            </a:extLst>
          </p:cNvPr>
          <p:cNvSpPr txBox="1">
            <a:spLocks/>
          </p:cNvSpPr>
          <p:nvPr/>
        </p:nvSpPr>
        <p:spPr>
          <a:xfrm>
            <a:off x="576262" y="1058864"/>
            <a:ext cx="2712947" cy="2875361"/>
          </a:xfrm>
          <a:prstGeom prst="rect">
            <a:avLst/>
          </a:prstGeom>
        </p:spPr>
        <p:txBody>
          <a:bodyPr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que investir no sistema </a:t>
            </a:r>
          </a:p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draulico?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De acordo com o ciclo de desgaste do óleo o </a:t>
            </a:r>
            <a:r>
              <a:rPr lang="de-DE" b="1" dirty="0"/>
              <a:t>monitoramento de temperatura </a:t>
            </a:r>
            <a:r>
              <a:rPr lang="de-DE" dirty="0"/>
              <a:t>nos ajuda a aumentar a eficiencia do recurso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Temperatura x Umidade!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</p:txBody>
      </p:sp>
      <p:sp>
        <p:nvSpPr>
          <p:cNvPr id="5" name="object 12">
            <a:extLst>
              <a:ext uri="{FF2B5EF4-FFF2-40B4-BE49-F238E27FC236}">
                <a16:creationId xmlns:a16="http://schemas.microsoft.com/office/drawing/2014/main" id="{97DA0F47-BF31-7F3F-7823-AB05505A9C09}"/>
              </a:ext>
            </a:extLst>
          </p:cNvPr>
          <p:cNvSpPr txBox="1"/>
          <p:nvPr/>
        </p:nvSpPr>
        <p:spPr>
          <a:xfrm>
            <a:off x="8868163" y="2795724"/>
            <a:ext cx="203454" cy="1306948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650"/>
              </a:lnSpc>
            </a:pPr>
            <a:r>
              <a:rPr lang="pt-BR" sz="1400" spc="-5" dirty="0">
                <a:latin typeface="Microsoft Sans Serif"/>
                <a:cs typeface="Microsoft Sans Serif"/>
              </a:rPr>
              <a:t>Vida útil do óleo</a:t>
            </a:r>
            <a:endParaRPr sz="1400" dirty="0">
              <a:latin typeface="Microsoft Sans Serif"/>
              <a:cs typeface="Microsoft Sans Serif"/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14BEA0DA-C7EF-8A48-BC98-D98512090711}"/>
              </a:ext>
            </a:extLst>
          </p:cNvPr>
          <p:cNvSpPr/>
          <p:nvPr/>
        </p:nvSpPr>
        <p:spPr>
          <a:xfrm>
            <a:off x="7544861" y="925470"/>
            <a:ext cx="1115433" cy="3234521"/>
          </a:xfrm>
          <a:custGeom>
            <a:avLst/>
            <a:gdLst/>
            <a:ahLst/>
            <a:cxnLst/>
            <a:rect l="l" t="t" r="r" b="b"/>
            <a:pathLst>
              <a:path w="1095375" h="3220085">
                <a:moveTo>
                  <a:pt x="1094841" y="0"/>
                </a:moveTo>
                <a:lnTo>
                  <a:pt x="0" y="0"/>
                </a:lnTo>
                <a:lnTo>
                  <a:pt x="0" y="3220085"/>
                </a:lnTo>
                <a:lnTo>
                  <a:pt x="1094841" y="3220085"/>
                </a:lnTo>
                <a:lnTo>
                  <a:pt x="1094841" y="0"/>
                </a:lnTo>
                <a:close/>
              </a:path>
            </a:pathLst>
          </a:custGeom>
          <a:solidFill>
            <a:srgbClr val="00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9">
            <a:extLst>
              <a:ext uri="{FF2B5EF4-FFF2-40B4-BE49-F238E27FC236}">
                <a16:creationId xmlns:a16="http://schemas.microsoft.com/office/drawing/2014/main" id="{07129F7B-2798-4D4E-E1B8-345C04D71A0E}"/>
              </a:ext>
            </a:extLst>
          </p:cNvPr>
          <p:cNvSpPr txBox="1"/>
          <p:nvPr/>
        </p:nvSpPr>
        <p:spPr>
          <a:xfrm>
            <a:off x="7478214" y="926286"/>
            <a:ext cx="1115433" cy="287258"/>
          </a:xfrm>
          <a:prstGeom prst="rect">
            <a:avLst/>
          </a:prstGeom>
        </p:spPr>
        <p:txBody>
          <a:bodyPr vert="horz" wrap="square" lIns="0" tIns="40640" rIns="0" bIns="0" rtlCol="0">
            <a:spAutoFit/>
          </a:bodyPr>
          <a:lstStyle/>
          <a:p>
            <a:pPr marL="200660">
              <a:lnSpc>
                <a:spcPct val="100000"/>
              </a:lnSpc>
              <a:spcBef>
                <a:spcPts val="320"/>
              </a:spcBef>
            </a:pPr>
            <a:r>
              <a:rPr sz="1600" spc="-5" dirty="0">
                <a:cs typeface="Microsoft Sans Serif"/>
              </a:rPr>
              <a:t>+400</a:t>
            </a:r>
            <a:r>
              <a:rPr sz="1600" spc="-25" dirty="0">
                <a:cs typeface="Microsoft Sans Serif"/>
              </a:rPr>
              <a:t> </a:t>
            </a:r>
            <a:r>
              <a:rPr sz="1600" spc="-5" dirty="0">
                <a:cs typeface="Microsoft Sans Serif"/>
              </a:rPr>
              <a:t>%</a:t>
            </a:r>
            <a:endParaRPr sz="1600" dirty="0">
              <a:cs typeface="Microsoft Sans Serif"/>
            </a:endParaRPr>
          </a:p>
        </p:txBody>
      </p:sp>
      <p:sp>
        <p:nvSpPr>
          <p:cNvPr id="14" name="object 20">
            <a:extLst>
              <a:ext uri="{FF2B5EF4-FFF2-40B4-BE49-F238E27FC236}">
                <a16:creationId xmlns:a16="http://schemas.microsoft.com/office/drawing/2014/main" id="{60AA8299-4A95-BF1F-5B22-0DA724455F62}"/>
              </a:ext>
            </a:extLst>
          </p:cNvPr>
          <p:cNvSpPr/>
          <p:nvPr/>
        </p:nvSpPr>
        <p:spPr>
          <a:xfrm>
            <a:off x="2985208" y="3449198"/>
            <a:ext cx="1115433" cy="711837"/>
          </a:xfrm>
          <a:custGeom>
            <a:avLst/>
            <a:gdLst/>
            <a:ahLst/>
            <a:cxnLst/>
            <a:rect l="l" t="t" r="r" b="b"/>
            <a:pathLst>
              <a:path w="1095375" h="708660">
                <a:moveTo>
                  <a:pt x="1094854" y="0"/>
                </a:moveTo>
                <a:lnTo>
                  <a:pt x="0" y="0"/>
                </a:lnTo>
                <a:lnTo>
                  <a:pt x="0" y="708431"/>
                </a:lnTo>
                <a:lnTo>
                  <a:pt x="1094854" y="708431"/>
                </a:lnTo>
                <a:lnTo>
                  <a:pt x="109485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21">
            <a:extLst>
              <a:ext uri="{FF2B5EF4-FFF2-40B4-BE49-F238E27FC236}">
                <a16:creationId xmlns:a16="http://schemas.microsoft.com/office/drawing/2014/main" id="{B3933BF6-7853-826D-8FE6-E4BC3883A2D9}"/>
              </a:ext>
            </a:extLst>
          </p:cNvPr>
          <p:cNvSpPr txBox="1"/>
          <p:nvPr/>
        </p:nvSpPr>
        <p:spPr>
          <a:xfrm>
            <a:off x="2985208" y="3449198"/>
            <a:ext cx="1115433" cy="287899"/>
          </a:xfrm>
          <a:prstGeom prst="rect">
            <a:avLst/>
          </a:prstGeom>
        </p:spPr>
        <p:txBody>
          <a:bodyPr vert="horz" wrap="square" lIns="0" tIns="41275" rIns="0" bIns="0" rtlCol="0">
            <a:spAutoFit/>
          </a:bodyPr>
          <a:lstStyle/>
          <a:p>
            <a:pPr marL="259715">
              <a:lnSpc>
                <a:spcPct val="100000"/>
              </a:lnSpc>
              <a:spcBef>
                <a:spcPts val="325"/>
              </a:spcBef>
            </a:pPr>
            <a:r>
              <a:rPr sz="1600" spc="-5" dirty="0">
                <a:cs typeface="Microsoft Sans Serif"/>
              </a:rPr>
              <a:t>100</a:t>
            </a:r>
            <a:r>
              <a:rPr sz="1600" spc="-30" dirty="0">
                <a:cs typeface="Microsoft Sans Serif"/>
              </a:rPr>
              <a:t> </a:t>
            </a:r>
            <a:r>
              <a:rPr sz="1600" spc="-5" dirty="0">
                <a:cs typeface="Microsoft Sans Serif"/>
              </a:rPr>
              <a:t>%</a:t>
            </a:r>
            <a:endParaRPr sz="1600" dirty="0">
              <a:cs typeface="Microsoft Sans Serif"/>
            </a:endParaRPr>
          </a:p>
        </p:txBody>
      </p:sp>
      <p:sp>
        <p:nvSpPr>
          <p:cNvPr id="16" name="object 22">
            <a:extLst>
              <a:ext uri="{FF2B5EF4-FFF2-40B4-BE49-F238E27FC236}">
                <a16:creationId xmlns:a16="http://schemas.microsoft.com/office/drawing/2014/main" id="{1CD50483-D183-AAC2-F926-65ADD530EB6E}"/>
              </a:ext>
            </a:extLst>
          </p:cNvPr>
          <p:cNvSpPr/>
          <p:nvPr/>
        </p:nvSpPr>
        <p:spPr>
          <a:xfrm>
            <a:off x="4497397" y="3061055"/>
            <a:ext cx="1115433" cy="1100286"/>
          </a:xfrm>
          <a:custGeom>
            <a:avLst/>
            <a:gdLst/>
            <a:ahLst/>
            <a:cxnLst/>
            <a:rect l="l" t="t" r="r" b="b"/>
            <a:pathLst>
              <a:path w="1095375" h="1095375">
                <a:moveTo>
                  <a:pt x="1094841" y="0"/>
                </a:moveTo>
                <a:lnTo>
                  <a:pt x="0" y="0"/>
                </a:lnTo>
                <a:lnTo>
                  <a:pt x="0" y="1094841"/>
                </a:lnTo>
                <a:lnTo>
                  <a:pt x="1094841" y="1094841"/>
                </a:lnTo>
                <a:lnTo>
                  <a:pt x="1094841" y="0"/>
                </a:lnTo>
                <a:close/>
              </a:path>
            </a:pathLst>
          </a:custGeom>
          <a:solidFill>
            <a:srgbClr val="FF84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23">
            <a:extLst>
              <a:ext uri="{FF2B5EF4-FFF2-40B4-BE49-F238E27FC236}">
                <a16:creationId xmlns:a16="http://schemas.microsoft.com/office/drawing/2014/main" id="{44DF64B8-B51B-F0E9-73EC-4BC9E420CD6E}"/>
              </a:ext>
            </a:extLst>
          </p:cNvPr>
          <p:cNvSpPr txBox="1"/>
          <p:nvPr/>
        </p:nvSpPr>
        <p:spPr>
          <a:xfrm>
            <a:off x="4497397" y="3061055"/>
            <a:ext cx="1115433" cy="287899"/>
          </a:xfrm>
          <a:prstGeom prst="rect">
            <a:avLst/>
          </a:prstGeom>
        </p:spPr>
        <p:txBody>
          <a:bodyPr vert="horz" wrap="square" lIns="0" tIns="41275" rIns="0" bIns="0" rtlCol="0">
            <a:spAutoFit/>
          </a:bodyPr>
          <a:lstStyle/>
          <a:p>
            <a:pPr marL="257175">
              <a:lnSpc>
                <a:spcPct val="100000"/>
              </a:lnSpc>
              <a:spcBef>
                <a:spcPts val="325"/>
              </a:spcBef>
            </a:pPr>
            <a:r>
              <a:rPr sz="1600" spc="-5" dirty="0">
                <a:cs typeface="Microsoft Sans Serif"/>
              </a:rPr>
              <a:t>+40</a:t>
            </a:r>
            <a:r>
              <a:rPr sz="1600" spc="-15" dirty="0">
                <a:cs typeface="Microsoft Sans Serif"/>
              </a:rPr>
              <a:t> </a:t>
            </a:r>
            <a:r>
              <a:rPr sz="1600" spc="-5" dirty="0">
                <a:cs typeface="Microsoft Sans Serif"/>
              </a:rPr>
              <a:t>%</a:t>
            </a:r>
            <a:endParaRPr sz="1600" dirty="0">
              <a:cs typeface="Microsoft Sans Serif"/>
            </a:endParaRPr>
          </a:p>
        </p:txBody>
      </p:sp>
      <p:sp>
        <p:nvSpPr>
          <p:cNvPr id="18" name="object 24">
            <a:extLst>
              <a:ext uri="{FF2B5EF4-FFF2-40B4-BE49-F238E27FC236}">
                <a16:creationId xmlns:a16="http://schemas.microsoft.com/office/drawing/2014/main" id="{16AC2C11-E2AB-28A2-81F9-D755FBDFFF81}"/>
              </a:ext>
            </a:extLst>
          </p:cNvPr>
          <p:cNvSpPr/>
          <p:nvPr/>
        </p:nvSpPr>
        <p:spPr>
          <a:xfrm>
            <a:off x="6009585" y="2543482"/>
            <a:ext cx="1115433" cy="1617579"/>
          </a:xfrm>
          <a:custGeom>
            <a:avLst/>
            <a:gdLst/>
            <a:ahLst/>
            <a:cxnLst/>
            <a:rect l="l" t="t" r="r" b="b"/>
            <a:pathLst>
              <a:path w="1095375" h="1610360">
                <a:moveTo>
                  <a:pt x="1094841" y="0"/>
                </a:moveTo>
                <a:lnTo>
                  <a:pt x="0" y="0"/>
                </a:lnTo>
                <a:lnTo>
                  <a:pt x="0" y="1610106"/>
                </a:lnTo>
                <a:lnTo>
                  <a:pt x="1094841" y="1610106"/>
                </a:lnTo>
                <a:lnTo>
                  <a:pt x="1094841" y="0"/>
                </a:lnTo>
                <a:close/>
              </a:path>
            </a:pathLst>
          </a:custGeom>
          <a:solidFill>
            <a:srgbClr val="8EE11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25">
            <a:extLst>
              <a:ext uri="{FF2B5EF4-FFF2-40B4-BE49-F238E27FC236}">
                <a16:creationId xmlns:a16="http://schemas.microsoft.com/office/drawing/2014/main" id="{AC557B96-6BCE-5A5D-4435-08DBDED5B0E0}"/>
              </a:ext>
            </a:extLst>
          </p:cNvPr>
          <p:cNvSpPr txBox="1"/>
          <p:nvPr/>
        </p:nvSpPr>
        <p:spPr>
          <a:xfrm>
            <a:off x="6009585" y="2543482"/>
            <a:ext cx="1115433" cy="287899"/>
          </a:xfrm>
          <a:prstGeom prst="rect">
            <a:avLst/>
          </a:prstGeom>
        </p:spPr>
        <p:txBody>
          <a:bodyPr vert="horz" wrap="square" lIns="0" tIns="41275" rIns="0" bIns="0" rtlCol="0">
            <a:spAutoFit/>
          </a:bodyPr>
          <a:lstStyle/>
          <a:p>
            <a:pPr marL="257175">
              <a:lnSpc>
                <a:spcPct val="100000"/>
              </a:lnSpc>
              <a:spcBef>
                <a:spcPts val="325"/>
              </a:spcBef>
            </a:pPr>
            <a:r>
              <a:rPr sz="1600" spc="-5" dirty="0">
                <a:cs typeface="Microsoft Sans Serif"/>
              </a:rPr>
              <a:t>+50</a:t>
            </a:r>
            <a:r>
              <a:rPr sz="1600" spc="-10" dirty="0">
                <a:cs typeface="Microsoft Sans Serif"/>
              </a:rPr>
              <a:t> </a:t>
            </a:r>
            <a:r>
              <a:rPr sz="1600" spc="-5" dirty="0">
                <a:cs typeface="Microsoft Sans Serif"/>
              </a:rPr>
              <a:t>%</a:t>
            </a:r>
            <a:endParaRPr sz="1600" dirty="0">
              <a:cs typeface="Microsoft Sans Serif"/>
            </a:endParaRPr>
          </a:p>
        </p:txBody>
      </p:sp>
      <p:sp>
        <p:nvSpPr>
          <p:cNvPr id="21" name="object 27">
            <a:extLst>
              <a:ext uri="{FF2B5EF4-FFF2-40B4-BE49-F238E27FC236}">
                <a16:creationId xmlns:a16="http://schemas.microsoft.com/office/drawing/2014/main" id="{95053E19-3CFA-D9A8-2D48-54154365B95B}"/>
              </a:ext>
            </a:extLst>
          </p:cNvPr>
          <p:cNvSpPr txBox="1"/>
          <p:nvPr/>
        </p:nvSpPr>
        <p:spPr>
          <a:xfrm>
            <a:off x="2990104" y="2544853"/>
            <a:ext cx="1318020" cy="42573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ts val="1555"/>
              </a:lnSpc>
              <a:spcBef>
                <a:spcPts val="105"/>
              </a:spcBef>
            </a:pPr>
            <a:r>
              <a:rPr lang="pt-BR" sz="1400" dirty="0">
                <a:cs typeface="Microsoft Sans Serif"/>
              </a:rPr>
              <a:t>Controle umidade óleo</a:t>
            </a:r>
            <a:endParaRPr sz="1400" dirty="0">
              <a:cs typeface="Microsoft Sans Serif"/>
            </a:endParaRPr>
          </a:p>
        </p:txBody>
      </p:sp>
      <p:sp>
        <p:nvSpPr>
          <p:cNvPr id="22" name="object 28">
            <a:extLst>
              <a:ext uri="{FF2B5EF4-FFF2-40B4-BE49-F238E27FC236}">
                <a16:creationId xmlns:a16="http://schemas.microsoft.com/office/drawing/2014/main" id="{7E776C49-84A6-E757-735B-981166D9683C}"/>
              </a:ext>
            </a:extLst>
          </p:cNvPr>
          <p:cNvSpPr txBox="1"/>
          <p:nvPr/>
        </p:nvSpPr>
        <p:spPr>
          <a:xfrm>
            <a:off x="4518045" y="2108902"/>
            <a:ext cx="1186951" cy="445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t-BR" sz="1400" spc="-5" dirty="0">
                <a:cs typeface="Microsoft Sans Serif"/>
              </a:rPr>
              <a:t>Controle Contaminação</a:t>
            </a:r>
            <a:endParaRPr sz="1400" dirty="0">
              <a:cs typeface="Microsoft Sans Serif"/>
            </a:endParaRPr>
          </a:p>
        </p:txBody>
      </p:sp>
      <p:sp>
        <p:nvSpPr>
          <p:cNvPr id="23" name="object 29">
            <a:extLst>
              <a:ext uri="{FF2B5EF4-FFF2-40B4-BE49-F238E27FC236}">
                <a16:creationId xmlns:a16="http://schemas.microsoft.com/office/drawing/2014/main" id="{3B644611-37A3-C7EF-08FE-1C6D4BC2E0AF}"/>
              </a:ext>
            </a:extLst>
          </p:cNvPr>
          <p:cNvSpPr txBox="1"/>
          <p:nvPr/>
        </p:nvSpPr>
        <p:spPr>
          <a:xfrm>
            <a:off x="6009585" y="1663202"/>
            <a:ext cx="1349771" cy="445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t-BR" sz="1400" dirty="0">
                <a:cs typeface="Microsoft Sans Serif"/>
              </a:rPr>
              <a:t>Controle temperatura</a:t>
            </a:r>
            <a:endParaRPr sz="1400" dirty="0">
              <a:cs typeface="Microsoft Sans Serif"/>
            </a:endParaRPr>
          </a:p>
        </p:txBody>
      </p:sp>
      <p:sp>
        <p:nvSpPr>
          <p:cNvPr id="34" name="object 31">
            <a:extLst>
              <a:ext uri="{FF2B5EF4-FFF2-40B4-BE49-F238E27FC236}">
                <a16:creationId xmlns:a16="http://schemas.microsoft.com/office/drawing/2014/main" id="{E93243D0-7E54-D20A-2897-05A50C60DFBA}"/>
              </a:ext>
            </a:extLst>
          </p:cNvPr>
          <p:cNvSpPr/>
          <p:nvPr/>
        </p:nvSpPr>
        <p:spPr>
          <a:xfrm>
            <a:off x="3307416" y="3040095"/>
            <a:ext cx="837565" cy="386715"/>
          </a:xfrm>
          <a:custGeom>
            <a:avLst/>
            <a:gdLst/>
            <a:ahLst/>
            <a:cxnLst/>
            <a:rect l="l" t="t" r="r" b="b"/>
            <a:pathLst>
              <a:path w="837564" h="386714">
                <a:moveTo>
                  <a:pt x="586358" y="0"/>
                </a:moveTo>
                <a:lnTo>
                  <a:pt x="586358" y="52069"/>
                </a:lnTo>
                <a:lnTo>
                  <a:pt x="481710" y="52069"/>
                </a:lnTo>
                <a:lnTo>
                  <a:pt x="416340" y="53579"/>
                </a:lnTo>
                <a:lnTo>
                  <a:pt x="353645" y="57977"/>
                </a:lnTo>
                <a:lnTo>
                  <a:pt x="294197" y="65065"/>
                </a:lnTo>
                <a:lnTo>
                  <a:pt x="238571" y="74647"/>
                </a:lnTo>
                <a:lnTo>
                  <a:pt x="187341" y="86526"/>
                </a:lnTo>
                <a:lnTo>
                  <a:pt x="141081" y="100504"/>
                </a:lnTo>
                <a:lnTo>
                  <a:pt x="100363" y="116385"/>
                </a:lnTo>
                <a:lnTo>
                  <a:pt x="65762" y="133970"/>
                </a:lnTo>
                <a:lnTo>
                  <a:pt x="17205" y="173469"/>
                </a:lnTo>
                <a:lnTo>
                  <a:pt x="0" y="217424"/>
                </a:lnTo>
                <a:lnTo>
                  <a:pt x="0" y="386334"/>
                </a:lnTo>
                <a:lnTo>
                  <a:pt x="250952" y="386334"/>
                </a:lnTo>
                <a:lnTo>
                  <a:pt x="250952" y="217424"/>
                </a:lnTo>
                <a:lnTo>
                  <a:pt x="262710" y="200987"/>
                </a:lnTo>
                <a:lnTo>
                  <a:pt x="295456" y="186696"/>
                </a:lnTo>
                <a:lnTo>
                  <a:pt x="345400" y="175416"/>
                </a:lnTo>
                <a:lnTo>
                  <a:pt x="408748" y="168013"/>
                </a:lnTo>
                <a:lnTo>
                  <a:pt x="481710" y="165354"/>
                </a:lnTo>
                <a:lnTo>
                  <a:pt x="586358" y="165354"/>
                </a:lnTo>
                <a:lnTo>
                  <a:pt x="586358" y="217424"/>
                </a:lnTo>
                <a:lnTo>
                  <a:pt x="837183" y="108712"/>
                </a:lnTo>
                <a:lnTo>
                  <a:pt x="5863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2">
            <a:extLst>
              <a:ext uri="{FF2B5EF4-FFF2-40B4-BE49-F238E27FC236}">
                <a16:creationId xmlns:a16="http://schemas.microsoft.com/office/drawing/2014/main" id="{69DA6EA5-0270-B705-40C8-BACE98C32E3B}"/>
              </a:ext>
            </a:extLst>
          </p:cNvPr>
          <p:cNvSpPr/>
          <p:nvPr/>
        </p:nvSpPr>
        <p:spPr>
          <a:xfrm>
            <a:off x="4819606" y="2653634"/>
            <a:ext cx="837565" cy="386715"/>
          </a:xfrm>
          <a:custGeom>
            <a:avLst/>
            <a:gdLst/>
            <a:ahLst/>
            <a:cxnLst/>
            <a:rect l="l" t="t" r="r" b="b"/>
            <a:pathLst>
              <a:path w="837564" h="386714">
                <a:moveTo>
                  <a:pt x="586231" y="0"/>
                </a:moveTo>
                <a:lnTo>
                  <a:pt x="586231" y="52070"/>
                </a:lnTo>
                <a:lnTo>
                  <a:pt x="481710" y="52070"/>
                </a:lnTo>
                <a:lnTo>
                  <a:pt x="416340" y="53579"/>
                </a:lnTo>
                <a:lnTo>
                  <a:pt x="353645" y="57977"/>
                </a:lnTo>
                <a:lnTo>
                  <a:pt x="294197" y="65067"/>
                </a:lnTo>
                <a:lnTo>
                  <a:pt x="238571" y="74652"/>
                </a:lnTo>
                <a:lnTo>
                  <a:pt x="187341" y="86535"/>
                </a:lnTo>
                <a:lnTo>
                  <a:pt x="141081" y="100520"/>
                </a:lnTo>
                <a:lnTo>
                  <a:pt x="100363" y="116410"/>
                </a:lnTo>
                <a:lnTo>
                  <a:pt x="65762" y="134008"/>
                </a:lnTo>
                <a:lnTo>
                  <a:pt x="17205" y="173543"/>
                </a:lnTo>
                <a:lnTo>
                  <a:pt x="0" y="217551"/>
                </a:lnTo>
                <a:lnTo>
                  <a:pt x="0" y="386461"/>
                </a:lnTo>
                <a:lnTo>
                  <a:pt x="250951" y="386461"/>
                </a:lnTo>
                <a:lnTo>
                  <a:pt x="250951" y="217551"/>
                </a:lnTo>
                <a:lnTo>
                  <a:pt x="262710" y="201052"/>
                </a:lnTo>
                <a:lnTo>
                  <a:pt x="295456" y="186723"/>
                </a:lnTo>
                <a:lnTo>
                  <a:pt x="345400" y="175424"/>
                </a:lnTo>
                <a:lnTo>
                  <a:pt x="408748" y="168014"/>
                </a:lnTo>
                <a:lnTo>
                  <a:pt x="481710" y="165354"/>
                </a:lnTo>
                <a:lnTo>
                  <a:pt x="586231" y="165354"/>
                </a:lnTo>
                <a:lnTo>
                  <a:pt x="586231" y="217551"/>
                </a:lnTo>
                <a:lnTo>
                  <a:pt x="837183" y="108712"/>
                </a:lnTo>
                <a:lnTo>
                  <a:pt x="586231" y="0"/>
                </a:lnTo>
                <a:close/>
              </a:path>
            </a:pathLst>
          </a:custGeom>
          <a:solidFill>
            <a:srgbClr val="FF843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3">
            <a:extLst>
              <a:ext uri="{FF2B5EF4-FFF2-40B4-BE49-F238E27FC236}">
                <a16:creationId xmlns:a16="http://schemas.microsoft.com/office/drawing/2014/main" id="{FF54E25A-3030-D6E7-DA32-092868D0B38A}"/>
              </a:ext>
            </a:extLst>
          </p:cNvPr>
          <p:cNvSpPr/>
          <p:nvPr/>
        </p:nvSpPr>
        <p:spPr>
          <a:xfrm>
            <a:off x="6331795" y="2138395"/>
            <a:ext cx="837565" cy="386715"/>
          </a:xfrm>
          <a:custGeom>
            <a:avLst/>
            <a:gdLst/>
            <a:ahLst/>
            <a:cxnLst/>
            <a:rect l="l" t="t" r="r" b="b"/>
            <a:pathLst>
              <a:path w="837565" h="386714">
                <a:moveTo>
                  <a:pt x="586232" y="0"/>
                </a:moveTo>
                <a:lnTo>
                  <a:pt x="586232" y="52069"/>
                </a:lnTo>
                <a:lnTo>
                  <a:pt x="481711" y="52069"/>
                </a:lnTo>
                <a:lnTo>
                  <a:pt x="416340" y="53579"/>
                </a:lnTo>
                <a:lnTo>
                  <a:pt x="353645" y="57977"/>
                </a:lnTo>
                <a:lnTo>
                  <a:pt x="294197" y="65067"/>
                </a:lnTo>
                <a:lnTo>
                  <a:pt x="238571" y="74652"/>
                </a:lnTo>
                <a:lnTo>
                  <a:pt x="187341" y="86535"/>
                </a:lnTo>
                <a:lnTo>
                  <a:pt x="141081" y="100520"/>
                </a:lnTo>
                <a:lnTo>
                  <a:pt x="100363" y="116410"/>
                </a:lnTo>
                <a:lnTo>
                  <a:pt x="65762" y="134008"/>
                </a:lnTo>
                <a:lnTo>
                  <a:pt x="17205" y="173543"/>
                </a:lnTo>
                <a:lnTo>
                  <a:pt x="0" y="217550"/>
                </a:lnTo>
                <a:lnTo>
                  <a:pt x="0" y="386461"/>
                </a:lnTo>
                <a:lnTo>
                  <a:pt x="250951" y="386461"/>
                </a:lnTo>
                <a:lnTo>
                  <a:pt x="250951" y="217550"/>
                </a:lnTo>
                <a:lnTo>
                  <a:pt x="262710" y="201065"/>
                </a:lnTo>
                <a:lnTo>
                  <a:pt x="295456" y="186768"/>
                </a:lnTo>
                <a:lnTo>
                  <a:pt x="345400" y="175506"/>
                </a:lnTo>
                <a:lnTo>
                  <a:pt x="408748" y="168128"/>
                </a:lnTo>
                <a:lnTo>
                  <a:pt x="481711" y="165481"/>
                </a:lnTo>
                <a:lnTo>
                  <a:pt x="586232" y="165481"/>
                </a:lnTo>
                <a:lnTo>
                  <a:pt x="586232" y="217550"/>
                </a:lnTo>
                <a:lnTo>
                  <a:pt x="837184" y="108712"/>
                </a:lnTo>
                <a:lnTo>
                  <a:pt x="586232" y="0"/>
                </a:lnTo>
                <a:close/>
              </a:path>
            </a:pathLst>
          </a:custGeom>
          <a:solidFill>
            <a:srgbClr val="8EE11E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37" name="object 13">
            <a:extLst>
              <a:ext uri="{FF2B5EF4-FFF2-40B4-BE49-F238E27FC236}">
                <a16:creationId xmlns:a16="http://schemas.microsoft.com/office/drawing/2014/main" id="{D4572078-D95D-0024-A3F0-ED186ED25F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3595269"/>
              </p:ext>
            </p:extLst>
          </p:nvPr>
        </p:nvGraphicFramePr>
        <p:xfrm>
          <a:off x="528456" y="4268123"/>
          <a:ext cx="8265793" cy="5486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059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1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925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08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554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53975">
                        <a:lnSpc>
                          <a:spcPts val="1340"/>
                        </a:lnSpc>
                      </a:pPr>
                      <a:r>
                        <a:rPr lang="pt-BR" sz="1200" i="1" dirty="0">
                          <a:latin typeface="Arial"/>
                          <a:cs typeface="Arial"/>
                        </a:rPr>
                        <a:t>Umidade</a:t>
                      </a:r>
                      <a:r>
                        <a:rPr sz="1200" i="1" dirty="0">
                          <a:latin typeface="Arial"/>
                          <a:cs typeface="Arial"/>
                        </a:rPr>
                        <a:t>: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388620" algn="r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+mn-lt"/>
                          <a:cs typeface="Microsoft Sans Serif"/>
                        </a:rPr>
                        <a:t>phi</a:t>
                      </a:r>
                      <a:r>
                        <a:rPr sz="1200" spc="-35" dirty="0">
                          <a:latin typeface="+mn-lt"/>
                          <a:cs typeface="Microsoft Sans Serif"/>
                        </a:rPr>
                        <a:t> </a:t>
                      </a:r>
                      <a:r>
                        <a:rPr sz="1200" dirty="0">
                          <a:latin typeface="+mn-lt"/>
                          <a:cs typeface="Microsoft Sans Serif"/>
                        </a:rPr>
                        <a:t>=</a:t>
                      </a:r>
                      <a:r>
                        <a:rPr sz="1200" spc="-5" dirty="0">
                          <a:latin typeface="+mn-lt"/>
                          <a:cs typeface="Microsoft Sans Serif"/>
                        </a:rPr>
                        <a:t> </a:t>
                      </a:r>
                      <a:r>
                        <a:rPr sz="1200" dirty="0">
                          <a:latin typeface="+mn-lt"/>
                          <a:cs typeface="Microsoft Sans Serif"/>
                        </a:rPr>
                        <a:t>100%</a:t>
                      </a:r>
                    </a:p>
                  </a:txBody>
                  <a:tcPr marL="0" marR="0" marT="0" marB="0"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20320" algn="ctr">
                        <a:lnSpc>
                          <a:spcPts val="1340"/>
                        </a:lnSpc>
                      </a:pPr>
                      <a:r>
                        <a:rPr sz="1200" b="1" spc="-5" dirty="0">
                          <a:solidFill>
                            <a:srgbClr val="C00000"/>
                          </a:solidFill>
                          <a:latin typeface="+mn-lt"/>
                          <a:cs typeface="Arial"/>
                        </a:rPr>
                        <a:t>phi</a:t>
                      </a:r>
                      <a:r>
                        <a:rPr sz="1200" b="1" spc="-15" dirty="0">
                          <a:solidFill>
                            <a:srgbClr val="C00000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sz="1200" b="1" dirty="0">
                          <a:solidFill>
                            <a:srgbClr val="C00000"/>
                          </a:solidFill>
                          <a:latin typeface="+mn-lt"/>
                          <a:cs typeface="Arial"/>
                        </a:rPr>
                        <a:t>=</a:t>
                      </a:r>
                      <a:r>
                        <a:rPr sz="1200" b="1" spc="-20" dirty="0">
                          <a:solidFill>
                            <a:srgbClr val="C00000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sz="1200" b="1" dirty="0">
                          <a:solidFill>
                            <a:srgbClr val="C00000"/>
                          </a:solidFill>
                          <a:latin typeface="+mn-lt"/>
                          <a:cs typeface="Arial"/>
                        </a:rPr>
                        <a:t>40%</a:t>
                      </a:r>
                      <a:endParaRPr sz="1200" dirty="0">
                        <a:latin typeface="+mn-lt"/>
                        <a:cs typeface="Arial"/>
                      </a:endParaRPr>
                    </a:p>
                  </a:txBody>
                  <a:tcPr marL="0" marR="0" marT="0" marB="0"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+mn-lt"/>
                          <a:cs typeface="Microsoft Sans Serif"/>
                        </a:rPr>
                        <a:t>phi</a:t>
                      </a:r>
                      <a:r>
                        <a:rPr sz="1200" spc="-35" dirty="0">
                          <a:latin typeface="+mn-lt"/>
                          <a:cs typeface="Microsoft Sans Serif"/>
                        </a:rPr>
                        <a:t> </a:t>
                      </a:r>
                      <a:r>
                        <a:rPr sz="1200" dirty="0">
                          <a:latin typeface="+mn-lt"/>
                          <a:cs typeface="Microsoft Sans Serif"/>
                        </a:rPr>
                        <a:t>=</a:t>
                      </a:r>
                      <a:r>
                        <a:rPr sz="1200" spc="-5" dirty="0">
                          <a:latin typeface="+mn-lt"/>
                          <a:cs typeface="Microsoft Sans Serif"/>
                        </a:rPr>
                        <a:t> </a:t>
                      </a:r>
                      <a:r>
                        <a:rPr sz="1200" dirty="0">
                          <a:latin typeface="+mn-lt"/>
                          <a:cs typeface="Microsoft Sans Serif"/>
                        </a:rPr>
                        <a:t>40%</a:t>
                      </a:r>
                      <a:endParaRPr sz="1200">
                        <a:latin typeface="+mn-lt"/>
                        <a:cs typeface="Microsoft Sans Serif"/>
                      </a:endParaRPr>
                    </a:p>
                  </a:txBody>
                  <a:tcPr marL="0" marR="0" marT="0" marB="0"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46355" algn="ctr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+mn-lt"/>
                          <a:cs typeface="Microsoft Sans Serif"/>
                        </a:rPr>
                        <a:t>phi</a:t>
                      </a:r>
                      <a:r>
                        <a:rPr sz="1200" spc="-35" dirty="0">
                          <a:latin typeface="+mn-lt"/>
                          <a:cs typeface="Microsoft Sans Serif"/>
                        </a:rPr>
                        <a:t> </a:t>
                      </a:r>
                      <a:r>
                        <a:rPr sz="1200" dirty="0">
                          <a:latin typeface="+mn-lt"/>
                          <a:cs typeface="Microsoft Sans Serif"/>
                        </a:rPr>
                        <a:t>=</a:t>
                      </a:r>
                      <a:r>
                        <a:rPr sz="1200" spc="-5" dirty="0">
                          <a:latin typeface="+mn-lt"/>
                          <a:cs typeface="Microsoft Sans Serif"/>
                        </a:rPr>
                        <a:t> </a:t>
                      </a:r>
                      <a:r>
                        <a:rPr sz="1200" dirty="0">
                          <a:latin typeface="+mn-lt"/>
                          <a:cs typeface="Microsoft Sans Serif"/>
                        </a:rPr>
                        <a:t>40%</a:t>
                      </a:r>
                      <a:endParaRPr sz="1200">
                        <a:latin typeface="+mn-lt"/>
                        <a:cs typeface="Microsoft Sans Serif"/>
                      </a:endParaRPr>
                    </a:p>
                  </a:txBody>
                  <a:tcPr marL="0" marR="0" marT="0" marB="0"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79">
                <a:tc>
                  <a:txBody>
                    <a:bodyPr/>
                    <a:lstStyle/>
                    <a:p>
                      <a:pPr marL="53975">
                        <a:lnSpc>
                          <a:spcPts val="1340"/>
                        </a:lnSpc>
                      </a:pPr>
                      <a:r>
                        <a:rPr lang="pt-BR" sz="1200" i="1" spc="-10" dirty="0">
                          <a:latin typeface="Arial"/>
                          <a:cs typeface="Arial"/>
                        </a:rPr>
                        <a:t>Contaminação</a:t>
                      </a:r>
                      <a:r>
                        <a:rPr sz="1200" i="1" spc="-10" dirty="0">
                          <a:latin typeface="Arial"/>
                          <a:cs typeface="Arial"/>
                        </a:rPr>
                        <a:t>: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322580" algn="r">
                        <a:lnSpc>
                          <a:spcPts val="1340"/>
                        </a:lnSpc>
                      </a:pPr>
                      <a:r>
                        <a:rPr sz="1200" dirty="0">
                          <a:latin typeface="+mn-lt"/>
                          <a:cs typeface="Microsoft Sans Serif"/>
                        </a:rPr>
                        <a:t>ISO</a:t>
                      </a:r>
                      <a:r>
                        <a:rPr sz="1200" spc="-15" dirty="0">
                          <a:latin typeface="+mn-lt"/>
                          <a:cs typeface="Microsoft Sans Serif"/>
                        </a:rPr>
                        <a:t> </a:t>
                      </a:r>
                      <a:r>
                        <a:rPr sz="1200" spc="-5" dirty="0">
                          <a:latin typeface="+mn-lt"/>
                          <a:cs typeface="Microsoft Sans Serif"/>
                        </a:rPr>
                        <a:t>20/18/15</a:t>
                      </a:r>
                      <a:endParaRPr sz="1200" dirty="0">
                        <a:latin typeface="+mn-lt"/>
                        <a:cs typeface="Microsoft Sans Serif"/>
                      </a:endParaRPr>
                    </a:p>
                  </a:txBody>
                  <a:tcPr marL="0" marR="0" marT="0" marB="0"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23495" algn="ctr">
                        <a:lnSpc>
                          <a:spcPts val="1340"/>
                        </a:lnSpc>
                      </a:pPr>
                      <a:r>
                        <a:rPr sz="1200" dirty="0">
                          <a:latin typeface="+mn-lt"/>
                          <a:cs typeface="Microsoft Sans Serif"/>
                        </a:rPr>
                        <a:t>ISO</a:t>
                      </a:r>
                      <a:r>
                        <a:rPr sz="1200" spc="-15" dirty="0">
                          <a:latin typeface="+mn-lt"/>
                          <a:cs typeface="Microsoft Sans Serif"/>
                        </a:rPr>
                        <a:t> </a:t>
                      </a:r>
                      <a:r>
                        <a:rPr sz="1200" spc="-5" dirty="0">
                          <a:latin typeface="+mn-lt"/>
                          <a:cs typeface="Microsoft Sans Serif"/>
                        </a:rPr>
                        <a:t>20/18/15</a:t>
                      </a:r>
                      <a:endParaRPr sz="1200" dirty="0">
                        <a:latin typeface="+mn-lt"/>
                        <a:cs typeface="Microsoft Sans Serif"/>
                      </a:endParaRPr>
                    </a:p>
                  </a:txBody>
                  <a:tcPr marL="0" marR="0" marT="0" marB="0"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1340"/>
                        </a:lnSpc>
                      </a:pPr>
                      <a:r>
                        <a:rPr sz="1200" b="1" dirty="0">
                          <a:solidFill>
                            <a:srgbClr val="C00000"/>
                          </a:solidFill>
                          <a:latin typeface="+mn-lt"/>
                          <a:cs typeface="Arial"/>
                        </a:rPr>
                        <a:t>ISO</a:t>
                      </a:r>
                      <a:r>
                        <a:rPr sz="1200" b="1" spc="-45" dirty="0">
                          <a:solidFill>
                            <a:srgbClr val="C00000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sz="1200" b="1" dirty="0">
                          <a:solidFill>
                            <a:srgbClr val="C00000"/>
                          </a:solidFill>
                          <a:latin typeface="+mn-lt"/>
                          <a:cs typeface="Arial"/>
                        </a:rPr>
                        <a:t>14/12/9</a:t>
                      </a:r>
                      <a:endParaRPr sz="1200" dirty="0">
                        <a:latin typeface="+mn-lt"/>
                        <a:cs typeface="Arial"/>
                      </a:endParaRPr>
                    </a:p>
                  </a:txBody>
                  <a:tcPr marL="0" marR="0" marT="0" marB="0"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46355" algn="ctr">
                        <a:lnSpc>
                          <a:spcPts val="1340"/>
                        </a:lnSpc>
                      </a:pPr>
                      <a:r>
                        <a:rPr sz="1200" dirty="0">
                          <a:latin typeface="+mn-lt"/>
                          <a:cs typeface="Microsoft Sans Serif"/>
                        </a:rPr>
                        <a:t>ISO</a:t>
                      </a:r>
                      <a:r>
                        <a:rPr sz="1200" spc="-30" dirty="0">
                          <a:latin typeface="+mn-lt"/>
                          <a:cs typeface="Microsoft Sans Serif"/>
                        </a:rPr>
                        <a:t> </a:t>
                      </a:r>
                      <a:r>
                        <a:rPr sz="1200" dirty="0">
                          <a:latin typeface="+mn-lt"/>
                          <a:cs typeface="Microsoft Sans Serif"/>
                        </a:rPr>
                        <a:t>14/12/9</a:t>
                      </a:r>
                    </a:p>
                  </a:txBody>
                  <a:tcPr marL="0" marR="0" marT="0" marB="0"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79">
                <a:tc>
                  <a:txBody>
                    <a:bodyPr/>
                    <a:lstStyle/>
                    <a:p>
                      <a:pPr marL="53975">
                        <a:lnSpc>
                          <a:spcPts val="1340"/>
                        </a:lnSpc>
                      </a:pPr>
                      <a:r>
                        <a:rPr sz="1200" i="1" spc="-15" dirty="0">
                          <a:latin typeface="Arial"/>
                          <a:cs typeface="Arial"/>
                        </a:rPr>
                        <a:t>Tempe</a:t>
                      </a:r>
                      <a:r>
                        <a:rPr lang="pt-BR" sz="1200" i="1" spc="-15" dirty="0" err="1">
                          <a:latin typeface="Arial"/>
                          <a:cs typeface="Arial"/>
                        </a:rPr>
                        <a:t>ra</a:t>
                      </a:r>
                      <a:r>
                        <a:rPr sz="1200" i="1" spc="-15" dirty="0">
                          <a:latin typeface="Arial"/>
                          <a:cs typeface="Arial"/>
                        </a:rPr>
                        <a:t>tur</a:t>
                      </a:r>
                      <a:r>
                        <a:rPr lang="pt-BR" sz="1200" i="1" spc="-15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200" i="1" spc="-15" dirty="0">
                          <a:latin typeface="Arial"/>
                          <a:cs typeface="Arial"/>
                        </a:rPr>
                        <a:t>: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940435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+mn-lt"/>
                          <a:cs typeface="Microsoft Sans Serif"/>
                        </a:rPr>
                        <a:t>70°C</a:t>
                      </a:r>
                      <a:endParaRPr sz="1200">
                        <a:latin typeface="+mn-lt"/>
                        <a:cs typeface="Microsoft Sans Serif"/>
                      </a:endParaRPr>
                    </a:p>
                  </a:txBody>
                  <a:tcPr marL="0" marR="0" marT="0" marB="0"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R="21590" algn="ctr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+mn-lt"/>
                          <a:cs typeface="Microsoft Sans Serif"/>
                        </a:rPr>
                        <a:t>70°C</a:t>
                      </a:r>
                      <a:endParaRPr sz="1200">
                        <a:latin typeface="+mn-lt"/>
                        <a:cs typeface="Microsoft Sans Serif"/>
                      </a:endParaRPr>
                    </a:p>
                  </a:txBody>
                  <a:tcPr marL="0" marR="0" marT="0" marB="0"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685" algn="ctr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+mn-lt"/>
                          <a:cs typeface="Microsoft Sans Serif"/>
                        </a:rPr>
                        <a:t>70°C</a:t>
                      </a:r>
                      <a:endParaRPr sz="1200">
                        <a:latin typeface="+mn-lt"/>
                        <a:cs typeface="Microsoft Sans Serif"/>
                      </a:endParaRPr>
                    </a:p>
                  </a:txBody>
                  <a:tcPr marL="0" marR="0" marT="0" marB="0"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46990" algn="ctr">
                        <a:lnSpc>
                          <a:spcPts val="1340"/>
                        </a:lnSpc>
                      </a:pPr>
                      <a:r>
                        <a:rPr sz="1200" b="1" spc="-5" dirty="0">
                          <a:solidFill>
                            <a:srgbClr val="C00000"/>
                          </a:solidFill>
                          <a:latin typeface="+mn-lt"/>
                          <a:cs typeface="Arial"/>
                        </a:rPr>
                        <a:t>60°C</a:t>
                      </a:r>
                      <a:endParaRPr sz="1200" dirty="0">
                        <a:latin typeface="+mn-lt"/>
                        <a:cs typeface="Arial"/>
                      </a:endParaRPr>
                    </a:p>
                  </a:txBody>
                  <a:tcPr marL="0" marR="0" marT="0" marB="0">
                    <a:lnT w="6350">
                      <a:solidFill>
                        <a:srgbClr val="7E7E7E"/>
                      </a:solidFill>
                      <a:prstDash val="solid"/>
                    </a:lnT>
                    <a:lnB w="6350">
                      <a:solidFill>
                        <a:srgbClr val="7E7E7E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8" name="object 14">
            <a:extLst>
              <a:ext uri="{FF2B5EF4-FFF2-40B4-BE49-F238E27FC236}">
                <a16:creationId xmlns:a16="http://schemas.microsoft.com/office/drawing/2014/main" id="{3B136CAE-32AE-1CB9-6D94-2490B99C0756}"/>
              </a:ext>
            </a:extLst>
          </p:cNvPr>
          <p:cNvSpPr/>
          <p:nvPr/>
        </p:nvSpPr>
        <p:spPr>
          <a:xfrm>
            <a:off x="7125018" y="4684331"/>
            <a:ext cx="609600" cy="76200"/>
          </a:xfrm>
          <a:custGeom>
            <a:avLst/>
            <a:gdLst/>
            <a:ahLst/>
            <a:cxnLst/>
            <a:rect l="l" t="t" r="r" b="b"/>
            <a:pathLst>
              <a:path w="609600" h="76200">
                <a:moveTo>
                  <a:pt x="533400" y="0"/>
                </a:moveTo>
                <a:lnTo>
                  <a:pt x="533400" y="76199"/>
                </a:lnTo>
                <a:lnTo>
                  <a:pt x="600075" y="42862"/>
                </a:lnTo>
                <a:lnTo>
                  <a:pt x="546100" y="42862"/>
                </a:lnTo>
                <a:lnTo>
                  <a:pt x="546100" y="33337"/>
                </a:lnTo>
                <a:lnTo>
                  <a:pt x="600075" y="33337"/>
                </a:lnTo>
                <a:lnTo>
                  <a:pt x="533400" y="0"/>
                </a:lnTo>
                <a:close/>
              </a:path>
              <a:path w="609600" h="76200">
                <a:moveTo>
                  <a:pt x="533400" y="33337"/>
                </a:moveTo>
                <a:lnTo>
                  <a:pt x="0" y="33337"/>
                </a:lnTo>
                <a:lnTo>
                  <a:pt x="0" y="42862"/>
                </a:lnTo>
                <a:lnTo>
                  <a:pt x="533400" y="42862"/>
                </a:lnTo>
                <a:lnTo>
                  <a:pt x="533400" y="33337"/>
                </a:lnTo>
                <a:close/>
              </a:path>
              <a:path w="609600" h="76200">
                <a:moveTo>
                  <a:pt x="600075" y="33337"/>
                </a:moveTo>
                <a:lnTo>
                  <a:pt x="546100" y="33337"/>
                </a:lnTo>
                <a:lnTo>
                  <a:pt x="546100" y="42862"/>
                </a:lnTo>
                <a:lnTo>
                  <a:pt x="600075" y="42862"/>
                </a:lnTo>
                <a:lnTo>
                  <a:pt x="609600" y="38099"/>
                </a:lnTo>
                <a:lnTo>
                  <a:pt x="600075" y="33337"/>
                </a:ln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15">
            <a:extLst>
              <a:ext uri="{FF2B5EF4-FFF2-40B4-BE49-F238E27FC236}">
                <a16:creationId xmlns:a16="http://schemas.microsoft.com/office/drawing/2014/main" id="{99A2968C-7359-A162-4D58-0624F087F778}"/>
              </a:ext>
            </a:extLst>
          </p:cNvPr>
          <p:cNvSpPr/>
          <p:nvPr/>
        </p:nvSpPr>
        <p:spPr>
          <a:xfrm>
            <a:off x="5657171" y="4494994"/>
            <a:ext cx="428625" cy="76200"/>
          </a:xfrm>
          <a:custGeom>
            <a:avLst/>
            <a:gdLst/>
            <a:ahLst/>
            <a:cxnLst/>
            <a:rect l="l" t="t" r="r" b="b"/>
            <a:pathLst>
              <a:path w="428625" h="76200">
                <a:moveTo>
                  <a:pt x="351917" y="0"/>
                </a:moveTo>
                <a:lnTo>
                  <a:pt x="351917" y="76200"/>
                </a:lnTo>
                <a:lnTo>
                  <a:pt x="418592" y="42862"/>
                </a:lnTo>
                <a:lnTo>
                  <a:pt x="364617" y="42862"/>
                </a:lnTo>
                <a:lnTo>
                  <a:pt x="364617" y="33337"/>
                </a:lnTo>
                <a:lnTo>
                  <a:pt x="418592" y="33337"/>
                </a:lnTo>
                <a:lnTo>
                  <a:pt x="351917" y="0"/>
                </a:lnTo>
                <a:close/>
              </a:path>
              <a:path w="428625" h="76200">
                <a:moveTo>
                  <a:pt x="351917" y="33337"/>
                </a:moveTo>
                <a:lnTo>
                  <a:pt x="0" y="33337"/>
                </a:lnTo>
                <a:lnTo>
                  <a:pt x="0" y="42862"/>
                </a:lnTo>
                <a:lnTo>
                  <a:pt x="351917" y="42862"/>
                </a:lnTo>
                <a:lnTo>
                  <a:pt x="351917" y="33337"/>
                </a:lnTo>
                <a:close/>
              </a:path>
              <a:path w="428625" h="76200">
                <a:moveTo>
                  <a:pt x="418592" y="33337"/>
                </a:moveTo>
                <a:lnTo>
                  <a:pt x="364617" y="33337"/>
                </a:lnTo>
                <a:lnTo>
                  <a:pt x="364617" y="42862"/>
                </a:lnTo>
                <a:lnTo>
                  <a:pt x="418592" y="42862"/>
                </a:lnTo>
                <a:lnTo>
                  <a:pt x="428117" y="38100"/>
                </a:lnTo>
                <a:lnTo>
                  <a:pt x="418592" y="33337"/>
                </a:ln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>
            <a:extLst>
              <a:ext uri="{FF2B5EF4-FFF2-40B4-BE49-F238E27FC236}">
                <a16:creationId xmlns:a16="http://schemas.microsoft.com/office/drawing/2014/main" id="{900EF328-B289-14AC-7048-E03DE3DC5516}"/>
              </a:ext>
            </a:extLst>
          </p:cNvPr>
          <p:cNvSpPr txBox="1"/>
          <p:nvPr/>
        </p:nvSpPr>
        <p:spPr>
          <a:xfrm>
            <a:off x="427318" y="4783092"/>
            <a:ext cx="133350" cy="139700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sz="800" b="1" dirty="0">
                <a:latin typeface="Arial"/>
                <a:cs typeface="Arial"/>
              </a:rPr>
              <a:t>12</a:t>
            </a:fld>
            <a:endParaRPr sz="800">
              <a:latin typeface="Arial"/>
              <a:cs typeface="Arial"/>
            </a:endParaRPr>
          </a:p>
        </p:txBody>
      </p:sp>
      <p:sp>
        <p:nvSpPr>
          <p:cNvPr id="42" name="object 15">
            <a:extLst>
              <a:ext uri="{FF2B5EF4-FFF2-40B4-BE49-F238E27FC236}">
                <a16:creationId xmlns:a16="http://schemas.microsoft.com/office/drawing/2014/main" id="{54EDCA9F-8C4C-96F6-E15F-46CD0F6106EA}"/>
              </a:ext>
            </a:extLst>
          </p:cNvPr>
          <p:cNvSpPr/>
          <p:nvPr/>
        </p:nvSpPr>
        <p:spPr>
          <a:xfrm>
            <a:off x="4046391" y="4318612"/>
            <a:ext cx="428625" cy="76200"/>
          </a:xfrm>
          <a:custGeom>
            <a:avLst/>
            <a:gdLst/>
            <a:ahLst/>
            <a:cxnLst/>
            <a:rect l="l" t="t" r="r" b="b"/>
            <a:pathLst>
              <a:path w="428625" h="76200">
                <a:moveTo>
                  <a:pt x="351917" y="0"/>
                </a:moveTo>
                <a:lnTo>
                  <a:pt x="351917" y="76200"/>
                </a:lnTo>
                <a:lnTo>
                  <a:pt x="418592" y="42862"/>
                </a:lnTo>
                <a:lnTo>
                  <a:pt x="364617" y="42862"/>
                </a:lnTo>
                <a:lnTo>
                  <a:pt x="364617" y="33337"/>
                </a:lnTo>
                <a:lnTo>
                  <a:pt x="418592" y="33337"/>
                </a:lnTo>
                <a:lnTo>
                  <a:pt x="351917" y="0"/>
                </a:lnTo>
                <a:close/>
              </a:path>
              <a:path w="428625" h="76200">
                <a:moveTo>
                  <a:pt x="351917" y="33337"/>
                </a:moveTo>
                <a:lnTo>
                  <a:pt x="0" y="33337"/>
                </a:lnTo>
                <a:lnTo>
                  <a:pt x="0" y="42862"/>
                </a:lnTo>
                <a:lnTo>
                  <a:pt x="351917" y="42862"/>
                </a:lnTo>
                <a:lnTo>
                  <a:pt x="351917" y="33337"/>
                </a:lnTo>
                <a:close/>
              </a:path>
              <a:path w="428625" h="76200">
                <a:moveTo>
                  <a:pt x="418592" y="33337"/>
                </a:moveTo>
                <a:lnTo>
                  <a:pt x="364617" y="33337"/>
                </a:lnTo>
                <a:lnTo>
                  <a:pt x="364617" y="42862"/>
                </a:lnTo>
                <a:lnTo>
                  <a:pt x="418592" y="42862"/>
                </a:lnTo>
                <a:lnTo>
                  <a:pt x="428117" y="38100"/>
                </a:lnTo>
                <a:lnTo>
                  <a:pt x="418592" y="33337"/>
                </a:ln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">
            <a:extLst>
              <a:ext uri="{FF2B5EF4-FFF2-40B4-BE49-F238E27FC236}">
                <a16:creationId xmlns:a16="http://schemas.microsoft.com/office/drawing/2014/main" id="{A05E3EBC-2F89-4D2C-6500-25BADBF1A511}"/>
              </a:ext>
            </a:extLst>
          </p:cNvPr>
          <p:cNvSpPr/>
          <p:nvPr/>
        </p:nvSpPr>
        <p:spPr>
          <a:xfrm>
            <a:off x="8700861" y="925470"/>
            <a:ext cx="167302" cy="3234521"/>
          </a:xfrm>
          <a:custGeom>
            <a:avLst/>
            <a:gdLst/>
            <a:ahLst/>
            <a:cxnLst/>
            <a:rect l="l" t="t" r="r" b="b"/>
            <a:pathLst>
              <a:path w="127000" h="3456304">
                <a:moveTo>
                  <a:pt x="63547" y="76262"/>
                </a:moveTo>
                <a:lnTo>
                  <a:pt x="54080" y="83802"/>
                </a:lnTo>
                <a:lnTo>
                  <a:pt x="44576" y="3456038"/>
                </a:lnTo>
                <a:lnTo>
                  <a:pt x="63626" y="3456089"/>
                </a:lnTo>
                <a:lnTo>
                  <a:pt x="73008" y="127254"/>
                </a:lnTo>
                <a:lnTo>
                  <a:pt x="73064" y="83802"/>
                </a:lnTo>
                <a:lnTo>
                  <a:pt x="63706" y="76264"/>
                </a:lnTo>
                <a:lnTo>
                  <a:pt x="63547" y="76262"/>
                </a:lnTo>
                <a:close/>
              </a:path>
              <a:path w="127000" h="3456304">
                <a:moveTo>
                  <a:pt x="101625" y="76200"/>
                </a:moveTo>
                <a:lnTo>
                  <a:pt x="63626" y="76200"/>
                </a:lnTo>
                <a:lnTo>
                  <a:pt x="73151" y="76326"/>
                </a:lnTo>
                <a:lnTo>
                  <a:pt x="73130" y="83856"/>
                </a:lnTo>
                <a:lnTo>
                  <a:pt x="127000" y="127253"/>
                </a:lnTo>
                <a:lnTo>
                  <a:pt x="101625" y="76200"/>
                </a:lnTo>
                <a:close/>
              </a:path>
              <a:path w="127000" h="3456304">
                <a:moveTo>
                  <a:pt x="63753" y="0"/>
                </a:moveTo>
                <a:lnTo>
                  <a:pt x="0" y="126873"/>
                </a:lnTo>
                <a:lnTo>
                  <a:pt x="54013" y="83856"/>
                </a:lnTo>
                <a:lnTo>
                  <a:pt x="54101" y="76200"/>
                </a:lnTo>
                <a:lnTo>
                  <a:pt x="101625" y="76200"/>
                </a:lnTo>
                <a:lnTo>
                  <a:pt x="63753" y="0"/>
                </a:lnTo>
                <a:close/>
              </a:path>
              <a:path w="127000" h="3456304">
                <a:moveTo>
                  <a:pt x="63706" y="76264"/>
                </a:moveTo>
                <a:lnTo>
                  <a:pt x="73130" y="83856"/>
                </a:lnTo>
                <a:lnTo>
                  <a:pt x="73151" y="76326"/>
                </a:lnTo>
                <a:lnTo>
                  <a:pt x="63706" y="76264"/>
                </a:lnTo>
                <a:close/>
              </a:path>
              <a:path w="127000" h="3456304">
                <a:moveTo>
                  <a:pt x="54101" y="76200"/>
                </a:moveTo>
                <a:lnTo>
                  <a:pt x="54080" y="83802"/>
                </a:lnTo>
                <a:lnTo>
                  <a:pt x="63547" y="76262"/>
                </a:lnTo>
                <a:lnTo>
                  <a:pt x="54101" y="76200"/>
                </a:lnTo>
                <a:close/>
              </a:path>
              <a:path w="127000" h="3456304">
                <a:moveTo>
                  <a:pt x="63626" y="76200"/>
                </a:moveTo>
                <a:lnTo>
                  <a:pt x="54101" y="76200"/>
                </a:lnTo>
                <a:lnTo>
                  <a:pt x="63547" y="7626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479618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E8B512B-0BB7-285E-7259-C5F7D5A30B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E8B512B-0BB7-285E-7259-C5F7D5A30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7A489-C07F-DF3C-F0D9-54184C723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.</a:t>
            </a:r>
            <a:br>
              <a:rPr lang="de-DE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7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quê o SFC?</a:t>
            </a:r>
            <a:endParaRPr lang="de-DE" sz="17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2F952EF-B5F1-C929-6F60-EA773725FD9C}"/>
              </a:ext>
            </a:extLst>
          </p:cNvPr>
          <p:cNvSpPr txBox="1">
            <a:spLocks/>
          </p:cNvSpPr>
          <p:nvPr/>
        </p:nvSpPr>
        <p:spPr>
          <a:xfrm>
            <a:off x="576262" y="1058864"/>
            <a:ext cx="2195538" cy="3384546"/>
          </a:xfrm>
          <a:prstGeom prst="rect">
            <a:avLst/>
          </a:prstGeom>
        </p:spPr>
        <p:txBody>
          <a:bodyPr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is são as vantagens de monitorar o sistema hidraulico?</a:t>
            </a:r>
          </a:p>
          <a:p>
            <a:pPr marL="0" indent="0" defTabSz="457200">
              <a:buFont typeface="Wingdings" panose="05000000000000000000" pitchFamily="2" charset="2"/>
              <a:buNone/>
            </a:pPr>
            <a:endParaRPr lang="de-DE" sz="1200" b="1" dirty="0">
              <a:solidFill>
                <a:srgbClr val="E2001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dirty="0"/>
              <a:t>Disponibilidade Máquina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dirty="0"/>
              <a:t>Eficiência Recursos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de-DE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Garantir a qualidade do sistema é consequentemente umentar a disponibilidade do equipamento. E eficiencia dos recursos.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EE17AC23-3C78-91B1-347C-6C051D910A78}"/>
              </a:ext>
            </a:extLst>
          </p:cNvPr>
          <p:cNvGrpSpPr/>
          <p:nvPr/>
        </p:nvGrpSpPr>
        <p:grpSpPr>
          <a:xfrm>
            <a:off x="3525690" y="1003005"/>
            <a:ext cx="5170636" cy="1717075"/>
            <a:chOff x="2731603" y="4132949"/>
            <a:chExt cx="5819613" cy="2018242"/>
          </a:xfrm>
        </p:grpSpPr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7517E555-EC45-3FD6-8B45-BAC6CE34081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46551" y="4395628"/>
              <a:ext cx="934272" cy="1539046"/>
            </a:xfrm>
            <a:prstGeom prst="rect">
              <a:avLst/>
            </a:prstGeom>
          </p:spPr>
        </p:pic>
        <p:sp>
          <p:nvSpPr>
            <p:cNvPr id="6" name="Espaço Reservado para Conteúdo 5">
              <a:extLst>
                <a:ext uri="{FF2B5EF4-FFF2-40B4-BE49-F238E27FC236}">
                  <a16:creationId xmlns:a16="http://schemas.microsoft.com/office/drawing/2014/main" id="{90941877-48CA-87D5-BD54-3D0C2DD47C29}"/>
                </a:ext>
              </a:extLst>
            </p:cNvPr>
            <p:cNvSpPr txBox="1">
              <a:spLocks/>
            </p:cNvSpPr>
            <p:nvPr/>
          </p:nvSpPr>
          <p:spPr>
            <a:xfrm>
              <a:off x="4065337" y="4132949"/>
              <a:ext cx="2842730" cy="26267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Font typeface="+mj-lt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0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795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400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400" b="1" dirty="0">
                  <a:latin typeface="+mj-lt"/>
                  <a:ea typeface="Verdana" pitchFamily="34" charset="0"/>
                  <a:cs typeface="Verdana" pitchFamily="34" charset="0"/>
                </a:rPr>
                <a:t>1- Manutenção Fluido Limpo</a:t>
              </a:r>
            </a:p>
          </p:txBody>
        </p:sp>
        <p:sp>
          <p:nvSpPr>
            <p:cNvPr id="8" name="Espaço Reservado para Conteúdo 5">
              <a:extLst>
                <a:ext uri="{FF2B5EF4-FFF2-40B4-BE49-F238E27FC236}">
                  <a16:creationId xmlns:a16="http://schemas.microsoft.com/office/drawing/2014/main" id="{DDDA619D-7882-544B-0FAB-4646C1FA9DBB}"/>
                </a:ext>
              </a:extLst>
            </p:cNvPr>
            <p:cNvSpPr txBox="1">
              <a:spLocks/>
            </p:cNvSpPr>
            <p:nvPr/>
          </p:nvSpPr>
          <p:spPr>
            <a:xfrm>
              <a:off x="2731603" y="4890510"/>
              <a:ext cx="2205317" cy="208652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Font typeface="+mj-lt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0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795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400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400" b="1" dirty="0">
                  <a:latin typeface="+mj-lt"/>
                  <a:ea typeface="Verdana" pitchFamily="34" charset="0"/>
                  <a:cs typeface="Verdana" pitchFamily="34" charset="0"/>
                </a:rPr>
                <a:t>2- Manutenção Fluido Seco</a:t>
              </a:r>
            </a:p>
          </p:txBody>
        </p:sp>
        <p:sp>
          <p:nvSpPr>
            <p:cNvPr id="9" name="Espaço Reservado para Conteúdo 5">
              <a:extLst>
                <a:ext uri="{FF2B5EF4-FFF2-40B4-BE49-F238E27FC236}">
                  <a16:creationId xmlns:a16="http://schemas.microsoft.com/office/drawing/2014/main" id="{97709681-740F-3EC5-BE58-CB4EE238F090}"/>
                </a:ext>
              </a:extLst>
            </p:cNvPr>
            <p:cNvSpPr txBox="1">
              <a:spLocks/>
            </p:cNvSpPr>
            <p:nvPr/>
          </p:nvSpPr>
          <p:spPr>
            <a:xfrm>
              <a:off x="4065336" y="5888512"/>
              <a:ext cx="2696703" cy="26267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Font typeface="+mj-lt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0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795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400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400" b="1" dirty="0">
                  <a:latin typeface="+mj-lt"/>
                  <a:ea typeface="Verdana" pitchFamily="34" charset="0"/>
                  <a:cs typeface="Verdana" pitchFamily="34" charset="0"/>
                </a:rPr>
                <a:t>3- Manutenção Fluido Frio</a:t>
              </a:r>
            </a:p>
          </p:txBody>
        </p:sp>
        <p:sp>
          <p:nvSpPr>
            <p:cNvPr id="10" name="Espaço Reservado para Conteúdo 5">
              <a:extLst>
                <a:ext uri="{FF2B5EF4-FFF2-40B4-BE49-F238E27FC236}">
                  <a16:creationId xmlns:a16="http://schemas.microsoft.com/office/drawing/2014/main" id="{F194BA0D-D82F-F9C5-1F3F-E8556BF18181}"/>
                </a:ext>
              </a:extLst>
            </p:cNvPr>
            <p:cNvSpPr txBox="1">
              <a:spLocks/>
            </p:cNvSpPr>
            <p:nvPr/>
          </p:nvSpPr>
          <p:spPr>
            <a:xfrm>
              <a:off x="6112397" y="4890780"/>
              <a:ext cx="2438819" cy="208652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Font typeface="+mj-lt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0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795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440000" indent="-36000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buClrTx/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1400" b="1" dirty="0">
                  <a:latin typeface="+mj-lt"/>
                  <a:ea typeface="Verdana" pitchFamily="34" charset="0"/>
                  <a:cs typeface="Verdana" pitchFamily="34" charset="0"/>
                </a:rPr>
                <a:t>4- Garantia das Condições do Fluido</a:t>
              </a:r>
            </a:p>
          </p:txBody>
        </p:sp>
      </p:grpSp>
      <p:pic>
        <p:nvPicPr>
          <p:cNvPr id="11" name="Picture 6">
            <a:extLst>
              <a:ext uri="{FF2B5EF4-FFF2-40B4-BE49-F238E27FC236}">
                <a16:creationId xmlns:a16="http://schemas.microsoft.com/office/drawing/2014/main" id="{8C3ABD06-D0D7-0293-53AE-986CA300D1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3406" y="3072065"/>
            <a:ext cx="1990683" cy="1421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D97146A4-989E-CB33-F291-872805295E6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7235" y="2587849"/>
            <a:ext cx="1265881" cy="2039414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5781A957-7D10-3D26-B7EF-1B325898250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5772" y="3943437"/>
            <a:ext cx="342659" cy="294878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51BF05CC-B1A8-16FE-21E7-5A410EAB6E73}"/>
              </a:ext>
            </a:extLst>
          </p:cNvPr>
          <p:cNvSpPr txBox="1"/>
          <p:nvPr/>
        </p:nvSpPr>
        <p:spPr>
          <a:xfrm>
            <a:off x="3367017" y="3981365"/>
            <a:ext cx="14787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Contaminação sólida 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CC5BB87A-2D3E-BF06-553B-172FC39E98B4}"/>
              </a:ext>
            </a:extLst>
          </p:cNvPr>
          <p:cNvSpPr txBox="1"/>
          <p:nvPr/>
        </p:nvSpPr>
        <p:spPr>
          <a:xfrm>
            <a:off x="3324456" y="3724234"/>
            <a:ext cx="138623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Contaminação  liquida 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CA2BF140-1361-4D36-8B2C-86B3763D2CF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5772" y="3656109"/>
            <a:ext cx="342659" cy="294878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8DCDF992-EE57-9AEF-1F26-8CB66A50A93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5772" y="3368785"/>
            <a:ext cx="342659" cy="294878"/>
          </a:xfrm>
          <a:prstGeom prst="rect">
            <a:avLst/>
          </a:prstGeom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EE4AEBA3-EA53-3F65-1639-089CA13CE937}"/>
              </a:ext>
            </a:extLst>
          </p:cNvPr>
          <p:cNvSpPr txBox="1"/>
          <p:nvPr/>
        </p:nvSpPr>
        <p:spPr>
          <a:xfrm>
            <a:off x="3401621" y="3414492"/>
            <a:ext cx="11103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Temperatura </a:t>
            </a: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F23BDF9B-2908-E094-8135-3935DA77FFC1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5772" y="3059226"/>
            <a:ext cx="342659" cy="294878"/>
          </a:xfrm>
          <a:prstGeom prst="rect">
            <a:avLst/>
          </a:prstGeom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31FA7581-248E-A25B-2ECC-3523E7DDFF66}"/>
              </a:ext>
            </a:extLst>
          </p:cNvPr>
          <p:cNvSpPr txBox="1"/>
          <p:nvPr/>
        </p:nvSpPr>
        <p:spPr>
          <a:xfrm>
            <a:off x="3389238" y="3100857"/>
            <a:ext cx="12658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Condição do óleo </a:t>
            </a:r>
          </a:p>
        </p:txBody>
      </p:sp>
    </p:spTree>
    <p:extLst>
      <p:ext uri="{BB962C8B-B14F-4D97-AF65-F5344CB8AC3E}">
        <p14:creationId xmlns:p14="http://schemas.microsoft.com/office/powerpoint/2010/main" val="3583038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E8B512B-0BB7-285E-7259-C5F7D5A30B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E8B512B-0BB7-285E-7259-C5F7D5A30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7A489-C07F-DF3C-F0D9-54184C723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.</a:t>
            </a:r>
            <a:br>
              <a:rPr lang="de-DE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7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quê o SFC?</a:t>
            </a:r>
            <a:endParaRPr lang="de-DE" sz="17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2F952EF-B5F1-C929-6F60-EA773725FD9C}"/>
              </a:ext>
            </a:extLst>
          </p:cNvPr>
          <p:cNvSpPr txBox="1">
            <a:spLocks/>
          </p:cNvSpPr>
          <p:nvPr/>
        </p:nvSpPr>
        <p:spPr>
          <a:xfrm>
            <a:off x="5392722" y="1081619"/>
            <a:ext cx="3239838" cy="3384546"/>
          </a:xfrm>
          <a:prstGeom prst="rect">
            <a:avLst/>
          </a:prstGeom>
        </p:spPr>
        <p:txBody>
          <a:bodyPr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que pretendemos resolver?</a:t>
            </a:r>
          </a:p>
          <a:p>
            <a:pPr marL="0" indent="0" defTabSz="457200">
              <a:buFont typeface="Wingdings" panose="05000000000000000000" pitchFamily="2" charset="2"/>
              <a:buNone/>
            </a:pPr>
            <a:endParaRPr lang="de-DE" sz="1200" b="1" dirty="0">
              <a:solidFill>
                <a:srgbClr val="E2001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Pontos de monitoramento que fazem sentido para nosso sistema!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DB50E1DB-EF78-9E9F-D6EA-8A2DAFE28257}"/>
              </a:ext>
            </a:extLst>
          </p:cNvPr>
          <p:cNvSpPr txBox="1"/>
          <p:nvPr/>
        </p:nvSpPr>
        <p:spPr>
          <a:xfrm>
            <a:off x="576263" y="881066"/>
            <a:ext cx="4235824" cy="37856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 err="1">
                <a:ea typeface="Verdana" pitchFamily="34" charset="0"/>
                <a:cs typeface="Verdana" pitchFamily="34" charset="0"/>
              </a:rPr>
              <a:t>Informações</a:t>
            </a:r>
            <a:r>
              <a:rPr lang="en-US" sz="2000" b="1" dirty="0">
                <a:ea typeface="Verdana" pitchFamily="34" charset="0"/>
                <a:cs typeface="Verdana" pitchFamily="34" charset="0"/>
              </a:rPr>
              <a:t> </a:t>
            </a:r>
            <a:r>
              <a:rPr lang="en-US" sz="2000" b="1" dirty="0" err="1">
                <a:ea typeface="Verdana" pitchFamily="34" charset="0"/>
                <a:cs typeface="Verdana" pitchFamily="34" charset="0"/>
              </a:rPr>
              <a:t>Relevantes</a:t>
            </a:r>
            <a:r>
              <a:rPr lang="en-US" sz="2000" b="1" dirty="0">
                <a:ea typeface="Verdana" pitchFamily="34" charset="0"/>
                <a:cs typeface="Verdana" pitchFamily="34" charset="0"/>
              </a:rPr>
              <a:t>:</a:t>
            </a:r>
          </a:p>
          <a:p>
            <a:endParaRPr lang="en-US" sz="2000" b="1" dirty="0">
              <a:ea typeface="Verdana" pitchFamily="34" charset="0"/>
              <a:cs typeface="Verdana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000" dirty="0">
                <a:ea typeface="Verdana" pitchFamily="34" charset="0"/>
                <a:cs typeface="Verdana" pitchFamily="34" charset="0"/>
              </a:rPr>
              <a:t>Sistema </a:t>
            </a:r>
            <a:r>
              <a:rPr lang="en-US" sz="2000" dirty="0" err="1">
                <a:ea typeface="Verdana" pitchFamily="34" charset="0"/>
                <a:cs typeface="Verdana" pitchFamily="34" charset="0"/>
              </a:rPr>
              <a:t>Filtragem</a:t>
            </a:r>
            <a:endParaRPr lang="en-US" sz="2000" dirty="0">
              <a:ea typeface="Verdana" pitchFamily="34" charset="0"/>
              <a:cs typeface="Verdana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000" dirty="0" err="1">
                <a:ea typeface="Verdana" pitchFamily="34" charset="0"/>
                <a:cs typeface="Verdana" pitchFamily="34" charset="0"/>
              </a:rPr>
              <a:t>Troca</a:t>
            </a:r>
            <a:r>
              <a:rPr lang="en-US" sz="2000" dirty="0">
                <a:ea typeface="Verdana" pitchFamily="34" charset="0"/>
                <a:cs typeface="Verdana" pitchFamily="34" charset="0"/>
              </a:rPr>
              <a:t> </a:t>
            </a:r>
            <a:r>
              <a:rPr lang="en-US" sz="2000" dirty="0" err="1">
                <a:ea typeface="Verdana" pitchFamily="34" charset="0"/>
                <a:cs typeface="Verdana" pitchFamily="34" charset="0"/>
              </a:rPr>
              <a:t>térmica</a:t>
            </a:r>
            <a:endParaRPr lang="en-US" sz="2000" dirty="0">
              <a:ea typeface="Verdana" pitchFamily="34" charset="0"/>
              <a:cs typeface="Verdana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000" dirty="0" err="1">
                <a:ea typeface="Verdana" pitchFamily="34" charset="0"/>
                <a:cs typeface="Verdana" pitchFamily="34" charset="0"/>
              </a:rPr>
              <a:t>Contaminação</a:t>
            </a:r>
            <a:r>
              <a:rPr lang="en-US" sz="2000" dirty="0">
                <a:ea typeface="Verdana" pitchFamily="34" charset="0"/>
                <a:cs typeface="Verdana" pitchFamily="34" charset="0"/>
              </a:rPr>
              <a:t> </a:t>
            </a:r>
            <a:r>
              <a:rPr lang="en-US" sz="2000" dirty="0" err="1">
                <a:ea typeface="Verdana" pitchFamily="34" charset="0"/>
                <a:cs typeface="Verdana" pitchFamily="34" charset="0"/>
              </a:rPr>
              <a:t>Óleo</a:t>
            </a:r>
            <a:r>
              <a:rPr lang="en-US" sz="2000" dirty="0">
                <a:ea typeface="Verdana" pitchFamily="34" charset="0"/>
                <a:cs typeface="Verdana" pitchFamily="34" charset="0"/>
              </a:rPr>
              <a:t> </a:t>
            </a:r>
            <a:r>
              <a:rPr lang="en-US" sz="2000" dirty="0" err="1">
                <a:ea typeface="Verdana" pitchFamily="34" charset="0"/>
                <a:cs typeface="Verdana" pitchFamily="34" charset="0"/>
              </a:rPr>
              <a:t>por</a:t>
            </a:r>
            <a:r>
              <a:rPr lang="en-US" sz="2000" dirty="0">
                <a:ea typeface="Verdana" pitchFamily="34" charset="0"/>
                <a:cs typeface="Verdana" pitchFamily="34" charset="0"/>
              </a:rPr>
              <a:t> </a:t>
            </a:r>
            <a:r>
              <a:rPr lang="en-US" sz="2000" dirty="0" err="1">
                <a:ea typeface="Verdana" pitchFamily="34" charset="0"/>
                <a:cs typeface="Verdana" pitchFamily="34" charset="0"/>
              </a:rPr>
              <a:t>Partículas</a:t>
            </a:r>
            <a:endParaRPr lang="en-US" sz="2000" dirty="0">
              <a:ea typeface="Verdana" pitchFamily="34" charset="0"/>
              <a:cs typeface="Verdana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000" dirty="0" err="1">
                <a:ea typeface="Verdana" pitchFamily="34" charset="0"/>
                <a:cs typeface="Verdana" pitchFamily="34" charset="0"/>
              </a:rPr>
              <a:t>Contaminação</a:t>
            </a:r>
            <a:r>
              <a:rPr lang="en-US" sz="2000" dirty="0">
                <a:ea typeface="Verdana" pitchFamily="34" charset="0"/>
                <a:cs typeface="Verdana" pitchFamily="34" charset="0"/>
              </a:rPr>
              <a:t> </a:t>
            </a:r>
            <a:r>
              <a:rPr lang="en-US" sz="2000" dirty="0" err="1">
                <a:ea typeface="Verdana" pitchFamily="34" charset="0"/>
                <a:cs typeface="Verdana" pitchFamily="34" charset="0"/>
              </a:rPr>
              <a:t>Óleo</a:t>
            </a:r>
            <a:r>
              <a:rPr lang="en-US" sz="2000" dirty="0">
                <a:ea typeface="Verdana" pitchFamily="34" charset="0"/>
                <a:cs typeface="Verdana" pitchFamily="34" charset="0"/>
              </a:rPr>
              <a:t> </a:t>
            </a:r>
            <a:r>
              <a:rPr lang="en-US" sz="2000" dirty="0" err="1">
                <a:ea typeface="Verdana" pitchFamily="34" charset="0"/>
                <a:cs typeface="Verdana" pitchFamily="34" charset="0"/>
              </a:rPr>
              <a:t>por</a:t>
            </a:r>
            <a:r>
              <a:rPr lang="en-US" sz="2000" dirty="0">
                <a:ea typeface="Verdana" pitchFamily="34" charset="0"/>
                <a:cs typeface="Verdana" pitchFamily="34" charset="0"/>
              </a:rPr>
              <a:t> </a:t>
            </a:r>
            <a:r>
              <a:rPr lang="en-US" sz="2000" dirty="0" err="1">
                <a:ea typeface="Verdana" pitchFamily="34" charset="0"/>
                <a:cs typeface="Verdana" pitchFamily="34" charset="0"/>
              </a:rPr>
              <a:t>Água</a:t>
            </a:r>
            <a:endParaRPr lang="en-US" sz="2000" dirty="0">
              <a:ea typeface="Verdana" pitchFamily="34" charset="0"/>
              <a:cs typeface="Verdana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000" dirty="0" err="1">
                <a:ea typeface="Verdana" pitchFamily="34" charset="0"/>
                <a:cs typeface="Verdana" pitchFamily="34" charset="0"/>
              </a:rPr>
              <a:t>Saturação</a:t>
            </a:r>
            <a:r>
              <a:rPr lang="en-US" sz="2000" dirty="0">
                <a:ea typeface="Verdana" pitchFamily="34" charset="0"/>
                <a:cs typeface="Verdana" pitchFamily="34" charset="0"/>
              </a:rPr>
              <a:t> </a:t>
            </a:r>
            <a:r>
              <a:rPr lang="en-US" sz="2000" dirty="0" err="1">
                <a:ea typeface="Verdana" pitchFamily="34" charset="0"/>
                <a:cs typeface="Verdana" pitchFamily="34" charset="0"/>
              </a:rPr>
              <a:t>Filtros</a:t>
            </a:r>
            <a:endParaRPr lang="en-US" sz="2000" dirty="0">
              <a:ea typeface="Verdana" pitchFamily="34" charset="0"/>
              <a:cs typeface="Verdana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000" dirty="0" err="1">
                <a:ea typeface="Verdana" pitchFamily="34" charset="0"/>
                <a:cs typeface="Verdana" pitchFamily="34" charset="0"/>
              </a:rPr>
              <a:t>Temperatura</a:t>
            </a:r>
            <a:endParaRPr lang="en-US" sz="2000" dirty="0">
              <a:ea typeface="Verdana" pitchFamily="34" charset="0"/>
              <a:cs typeface="Verdana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000" dirty="0" err="1">
                <a:ea typeface="Verdana" pitchFamily="34" charset="0"/>
                <a:cs typeface="Verdana" pitchFamily="34" charset="0"/>
              </a:rPr>
              <a:t>Condição</a:t>
            </a:r>
            <a:r>
              <a:rPr lang="en-US" sz="2000" dirty="0">
                <a:ea typeface="Verdana" pitchFamily="34" charset="0"/>
                <a:cs typeface="Verdana" pitchFamily="34" charset="0"/>
              </a:rPr>
              <a:t> do </a:t>
            </a:r>
            <a:r>
              <a:rPr lang="en-US" sz="2000" dirty="0" err="1">
                <a:ea typeface="Verdana" pitchFamily="34" charset="0"/>
                <a:cs typeface="Verdana" pitchFamily="34" charset="0"/>
              </a:rPr>
              <a:t>Óleo</a:t>
            </a:r>
            <a:endParaRPr lang="en-US" sz="2000" dirty="0">
              <a:ea typeface="Verdana" pitchFamily="34" charset="0"/>
              <a:cs typeface="Verdana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000" dirty="0" err="1">
                <a:ea typeface="Verdana" pitchFamily="34" charset="0"/>
                <a:cs typeface="Verdana" pitchFamily="34" charset="0"/>
              </a:rPr>
              <a:t>Nível</a:t>
            </a:r>
            <a:endParaRPr lang="en-US" sz="2000" dirty="0">
              <a:ea typeface="Verdana" pitchFamily="34" charset="0"/>
              <a:cs typeface="Verdana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000" dirty="0">
                <a:ea typeface="Verdana" pitchFamily="34" charset="0"/>
                <a:cs typeface="Verdana" pitchFamily="34" charset="0"/>
              </a:rPr>
              <a:t>E outros…</a:t>
            </a:r>
            <a:endParaRPr lang="pt-BR" sz="2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91772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6025F75-1CE7-491F-AE8D-379FCD0FAD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6025F75-1CE7-491F-AE8D-379FCD0FA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EBEF64-404A-8C04-BD31-5B5825601EB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pt-BR" dirty="0">
                <a:solidFill>
                  <a:srgbClr val="5459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o faremos?
</a:t>
            </a:r>
            <a:endParaRPr lang="de-DE" dirty="0">
              <a:solidFill>
                <a:srgbClr val="A0A3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5D88D4E-7AD8-5EFF-3D73-7F9D4ACC85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40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16921964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E8B512B-0BB7-285E-7259-C5F7D5A30B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E8B512B-0BB7-285E-7259-C5F7D5A30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7A489-C07F-DF3C-F0D9-54184C723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.</a:t>
            </a:r>
            <a:br>
              <a:rPr lang="de-DE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7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que é o SFC?</a:t>
            </a:r>
            <a:endParaRPr lang="de-DE" sz="17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2F952EF-B5F1-C929-6F60-EA773725FD9C}"/>
              </a:ext>
            </a:extLst>
          </p:cNvPr>
          <p:cNvSpPr txBox="1">
            <a:spLocks/>
          </p:cNvSpPr>
          <p:nvPr/>
        </p:nvSpPr>
        <p:spPr>
          <a:xfrm>
            <a:off x="576262" y="1058864"/>
            <a:ext cx="3239838" cy="3384546"/>
          </a:xfrm>
          <a:prstGeom prst="rect">
            <a:avLst/>
          </a:prstGeom>
        </p:spPr>
        <p:txBody>
          <a:bodyPr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sa solução!</a:t>
            </a:r>
          </a:p>
          <a:p>
            <a:pPr marL="0" indent="0" defTabSz="457200">
              <a:buFont typeface="Wingdings" panose="05000000000000000000" pitchFamily="2" charset="2"/>
              <a:buNone/>
            </a:pPr>
            <a:endParaRPr lang="de-DE" sz="1200" b="1" dirty="0">
              <a:solidFill>
                <a:srgbClr val="E2001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SFC – Smart Fluid Connection  para garantia de condições do sistema! 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758BEEB2-A650-55AC-0DFB-3C38035680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25086" y="2331961"/>
            <a:ext cx="4895570" cy="2111449"/>
          </a:xfrm>
          <a:prstGeom prst="rect">
            <a:avLst/>
          </a:prstGeom>
        </p:spPr>
      </p:pic>
      <p:pic>
        <p:nvPicPr>
          <p:cNvPr id="5" name="Imagem 4" descr="Logotipo&#10;&#10;Descrição gerada automaticamente com confiança média">
            <a:extLst>
              <a:ext uri="{FF2B5EF4-FFF2-40B4-BE49-F238E27FC236}">
                <a16:creationId xmlns:a16="http://schemas.microsoft.com/office/drawing/2014/main" id="{F3BD7469-2784-2A13-F242-616A5DE2A64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7467"/>
          <a:stretch/>
        </p:blipFill>
        <p:spPr>
          <a:xfrm>
            <a:off x="4784648" y="1058864"/>
            <a:ext cx="2910786" cy="1408711"/>
          </a:xfrm>
          <a:prstGeom prst="rect">
            <a:avLst/>
          </a:prstGeom>
        </p:spPr>
      </p:pic>
      <p:pic>
        <p:nvPicPr>
          <p:cNvPr id="8" name="Imagem 7" descr="Logotipo&#10;&#10;Descrição gerada automaticamente">
            <a:hlinkClick r:id="rId7"/>
            <a:extLst>
              <a:ext uri="{FF2B5EF4-FFF2-40B4-BE49-F238E27FC236}">
                <a16:creationId xmlns:a16="http://schemas.microsoft.com/office/drawing/2014/main" id="{5689009A-847B-3E43-BAAD-9C46983467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61814" y="3756277"/>
            <a:ext cx="509517" cy="50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7298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E8B512B-0BB7-285E-7259-C5F7D5A30B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06" imgH="306" progId="TCLayout.ActiveDocument.1">
                  <p:embed/>
                </p:oleObj>
              </mc:Choice>
              <mc:Fallback>
                <p:oleObj name="think-cell Folie" r:id="rId31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E8B512B-0BB7-285E-7259-C5F7D5A30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7A489-C07F-DF3C-F0D9-54184C723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.</a:t>
            </a:r>
            <a:br>
              <a:rPr lang="de-DE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7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que é o SFC?</a:t>
            </a:r>
            <a:endParaRPr lang="de-DE" sz="17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2F952EF-B5F1-C929-6F60-EA773725FD9C}"/>
              </a:ext>
            </a:extLst>
          </p:cNvPr>
          <p:cNvSpPr txBox="1">
            <a:spLocks/>
          </p:cNvSpPr>
          <p:nvPr/>
        </p:nvSpPr>
        <p:spPr>
          <a:xfrm>
            <a:off x="812871" y="1039396"/>
            <a:ext cx="3239838" cy="289712"/>
          </a:xfrm>
          <a:prstGeom prst="rect">
            <a:avLst/>
          </a:prstGeom>
        </p:spPr>
        <p:txBody>
          <a:bodyPr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inho de Negócios</a:t>
            </a:r>
          </a:p>
        </p:txBody>
      </p:sp>
      <p:sp>
        <p:nvSpPr>
          <p:cNvPr id="94" name="Textfeld 5">
            <a:extLst>
              <a:ext uri="{FF2B5EF4-FFF2-40B4-BE49-F238E27FC236}">
                <a16:creationId xmlns:a16="http://schemas.microsoft.com/office/drawing/2014/main" id="{E2FA34A6-A7E6-80D5-AEFF-60EF8F3D93E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624302" y="3964828"/>
            <a:ext cx="536377" cy="18466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600" dirty="0"/>
              <a:t>Customer</a:t>
            </a:r>
          </a:p>
        </p:txBody>
      </p:sp>
      <p:sp>
        <p:nvSpPr>
          <p:cNvPr id="95" name="Textfeld 23">
            <a:extLst>
              <a:ext uri="{FF2B5EF4-FFF2-40B4-BE49-F238E27FC236}">
                <a16:creationId xmlns:a16="http://schemas.microsoft.com/office/drawing/2014/main" id="{201EBF47-2F3B-6466-EAC2-151A8D90691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247134" y="1330445"/>
            <a:ext cx="833320" cy="230832"/>
          </a:xfrm>
          <a:prstGeom prst="rect">
            <a:avLst/>
          </a:prstGeom>
          <a:solidFill>
            <a:scrgbClr r="0" g="0" b="0">
              <a:alpha val="0"/>
            </a:scrgbClr>
          </a:solidFill>
          <a:ln/>
        </p:spPr>
        <p:txBody>
          <a:bodyPr wrap="square" lIns="91440" tIns="45720" rIns="91440" bIns="45720" rtlCol="0">
            <a:no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Machine</a:t>
            </a:r>
          </a:p>
        </p:txBody>
      </p:sp>
      <p:sp>
        <p:nvSpPr>
          <p:cNvPr id="96" name="Textfeld 26">
            <a:extLst>
              <a:ext uri="{FF2B5EF4-FFF2-40B4-BE49-F238E27FC236}">
                <a16:creationId xmlns:a16="http://schemas.microsoft.com/office/drawing/2014/main" id="{B2D8665B-DDC0-D61A-CB38-A8D7AC963C7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103660" y="2856305"/>
            <a:ext cx="950286" cy="40404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txBody>
          <a:bodyPr wrap="square" lIns="91440" tIns="45720" rIns="91440" bIns="45720" rtlCol="0">
            <a:noAutofit/>
          </a:bodyPr>
          <a:lstStyle/>
          <a:p>
            <a:pPr algn="ctr"/>
            <a:r>
              <a:rPr lang="pt-BR" sz="900" dirty="0">
                <a:solidFill>
                  <a:srgbClr val="000000"/>
                </a:solidFill>
              </a:rPr>
              <a:t>Instalação da Solução.</a:t>
            </a:r>
            <a:endParaRPr lang="de-DE" sz="900" dirty="0">
              <a:solidFill>
                <a:srgbClr val="000000"/>
              </a:solidFill>
            </a:endParaRPr>
          </a:p>
        </p:txBody>
      </p:sp>
      <p:sp>
        <p:nvSpPr>
          <p:cNvPr id="97" name="Textfeld 27">
            <a:extLst>
              <a:ext uri="{FF2B5EF4-FFF2-40B4-BE49-F238E27FC236}">
                <a16:creationId xmlns:a16="http://schemas.microsoft.com/office/drawing/2014/main" id="{A6944604-6E85-1CC5-1524-289DA537B3A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377679" y="1349633"/>
            <a:ext cx="1014360" cy="207971"/>
          </a:xfrm>
          <a:prstGeom prst="rect">
            <a:avLst/>
          </a:prstGeom>
          <a:solidFill>
            <a:scrgbClr r="0" g="0" b="0">
              <a:alpha val="0"/>
            </a:scrgbClr>
          </a:solidFill>
          <a:ln/>
        </p:spPr>
        <p:txBody>
          <a:bodyPr wrap="square" lIns="91440" tIns="45720" rIns="91440" bIns="45720" rtlCol="0">
            <a:no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Interfaces campo. </a:t>
            </a:r>
          </a:p>
        </p:txBody>
      </p:sp>
      <p:cxnSp>
        <p:nvCxnSpPr>
          <p:cNvPr id="98" name="Gerader Verbinder 29">
            <a:extLst>
              <a:ext uri="{FF2B5EF4-FFF2-40B4-BE49-F238E27FC236}">
                <a16:creationId xmlns:a16="http://schemas.microsoft.com/office/drawing/2014/main" id="{A2A18AA0-E3AE-CCB2-666D-853663FF5774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 flipH="1">
            <a:off x="1563310" y="2258192"/>
            <a:ext cx="1" cy="2226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feld 31">
            <a:extLst>
              <a:ext uri="{FF2B5EF4-FFF2-40B4-BE49-F238E27FC236}">
                <a16:creationId xmlns:a16="http://schemas.microsoft.com/office/drawing/2014/main" id="{3AC1F581-B5FA-EE26-6D31-778012F9FA7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139093" y="2750383"/>
            <a:ext cx="1191849" cy="96458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txBody>
          <a:bodyPr wrap="square" lIns="91440" tIns="45720" rIns="91440" bIns="45720" rtlCol="0">
            <a:noAutofit/>
          </a:bodyPr>
          <a:lstStyle>
            <a:defPPr>
              <a:defRPr lang="de-DE"/>
            </a:defPPr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pt-BR" dirty="0"/>
              <a:t>- Conexão e memoria para dados de sensores</a:t>
            </a:r>
            <a:br>
              <a:rPr lang="pt-BR" dirty="0"/>
            </a:br>
            <a:r>
              <a:rPr lang="pt-BR" dirty="0"/>
              <a:t>- Interface para transferência de dados
</a:t>
            </a:r>
            <a:endParaRPr lang="de-DE" dirty="0"/>
          </a:p>
        </p:txBody>
      </p:sp>
      <p:sp>
        <p:nvSpPr>
          <p:cNvPr id="100" name="Textfeld 32">
            <a:extLst>
              <a:ext uri="{FF2B5EF4-FFF2-40B4-BE49-F238E27FC236}">
                <a16:creationId xmlns:a16="http://schemas.microsoft.com/office/drawing/2014/main" id="{9D3734B5-9216-3AAC-FAAE-B577CC86BA0B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68897" y="2625000"/>
            <a:ext cx="1088670" cy="7866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txBody>
          <a:bodyPr wrap="square" lIns="91440" tIns="45720" rIns="91440" bIns="45720" rtlCol="0">
            <a:noAutofit/>
          </a:bodyPr>
          <a:lstStyle>
            <a:defPPr>
              <a:defRPr lang="de-DE"/>
            </a:defPPr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pt-BR" dirty="0"/>
              <a:t>Transferência de dados unidirecional via conexão móvel segura
</a:t>
            </a:r>
            <a:endParaRPr lang="de-DE" dirty="0"/>
          </a:p>
        </p:txBody>
      </p:sp>
      <p:pic>
        <p:nvPicPr>
          <p:cNvPr id="101" name="Picture 2">
            <a:extLst>
              <a:ext uri="{FF2B5EF4-FFF2-40B4-BE49-F238E27FC236}">
                <a16:creationId xmlns:a16="http://schemas.microsoft.com/office/drawing/2014/main" id="{97BA13B4-13D2-71C5-A0FF-98C8FDBCF861}"/>
              </a:ext>
            </a:extLst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75" b="18675"/>
          <a:stretch/>
        </p:blipFill>
        <p:spPr bwMode="auto">
          <a:xfrm>
            <a:off x="2408882" y="1991354"/>
            <a:ext cx="652273" cy="408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" name="Textfeld 35">
            <a:extLst>
              <a:ext uri="{FF2B5EF4-FFF2-40B4-BE49-F238E27FC236}">
                <a16:creationId xmlns:a16="http://schemas.microsoft.com/office/drawing/2014/main" id="{53682420-AF62-E0C8-3B1B-87E9FB311C6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679336" y="1353026"/>
            <a:ext cx="990475" cy="230832"/>
          </a:xfrm>
          <a:prstGeom prst="rect">
            <a:avLst/>
          </a:prstGeom>
          <a:solidFill>
            <a:scrgbClr r="0" g="0" b="0">
              <a:alpha val="0"/>
            </a:scrgbClr>
          </a:solidFill>
          <a:ln/>
        </p:spPr>
        <p:txBody>
          <a:bodyPr wrap="square" lIns="91440" tIns="45720" rIns="91440" bIns="45720" rtlCol="0">
            <a:no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Mobile Network</a:t>
            </a:r>
          </a:p>
        </p:txBody>
      </p:sp>
      <p:sp>
        <p:nvSpPr>
          <p:cNvPr id="103" name="Textfeld 36">
            <a:extLst>
              <a:ext uri="{FF2B5EF4-FFF2-40B4-BE49-F238E27FC236}">
                <a16:creationId xmlns:a16="http://schemas.microsoft.com/office/drawing/2014/main" id="{28C15DE9-0195-F82A-FF61-FB79D57F7B8B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974171" y="1351512"/>
            <a:ext cx="575208" cy="230832"/>
          </a:xfrm>
          <a:prstGeom prst="rect">
            <a:avLst/>
          </a:prstGeom>
          <a:solidFill>
            <a:scrgbClr r="0" g="0" b="0">
              <a:alpha val="0"/>
            </a:scrgbClr>
          </a:solidFill>
          <a:ln/>
        </p:spPr>
        <p:txBody>
          <a:bodyPr wrap="square" lIns="91440" tIns="45720" rIns="91440" bIns="45720" rtlCol="0">
            <a:no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Internet</a:t>
            </a:r>
          </a:p>
        </p:txBody>
      </p:sp>
      <p:sp>
        <p:nvSpPr>
          <p:cNvPr id="104" name="Textfeld 37">
            <a:extLst>
              <a:ext uri="{FF2B5EF4-FFF2-40B4-BE49-F238E27FC236}">
                <a16:creationId xmlns:a16="http://schemas.microsoft.com/office/drawing/2014/main" id="{F229AC84-E78B-7B24-B2D4-6415F85514FF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953905" y="1217874"/>
            <a:ext cx="1348618" cy="230832"/>
          </a:xfrm>
          <a:prstGeom prst="rect">
            <a:avLst/>
          </a:prstGeom>
          <a:solidFill>
            <a:scrgbClr r="0" g="0" b="0">
              <a:alpha val="0"/>
            </a:scrgbClr>
          </a:solidFill>
          <a:ln/>
        </p:spPr>
        <p:txBody>
          <a:bodyPr wrap="square" lIns="91440" tIns="45720" rIns="91440" bIns="45720" rtlCol="0">
            <a:no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Hydac SFC</a:t>
            </a:r>
          </a:p>
        </p:txBody>
      </p:sp>
      <p:sp>
        <p:nvSpPr>
          <p:cNvPr id="105" name="Textfeld 38">
            <a:extLst>
              <a:ext uri="{FF2B5EF4-FFF2-40B4-BE49-F238E27FC236}">
                <a16:creationId xmlns:a16="http://schemas.microsoft.com/office/drawing/2014/main" id="{E91514F6-6E61-63B6-90AF-A5EBE3F3F8F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679336" y="2645129"/>
            <a:ext cx="990475" cy="7943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txBody>
          <a:bodyPr wrap="square" lIns="91440" tIns="45720" rIns="91440" bIns="45720" rtlCol="0">
            <a:noAutofit/>
          </a:bodyPr>
          <a:lstStyle>
            <a:defPPr>
              <a:defRPr lang="de-DE"/>
            </a:defPPr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pt-BR" dirty="0"/>
              <a:t>Possíveis redes móveis: </a:t>
            </a:r>
          </a:p>
          <a:p>
            <a:r>
              <a:rPr lang="pt-BR" dirty="0"/>
              <a:t>3G, 4G, 5G, Satélite
</a:t>
            </a:r>
            <a:endParaRPr lang="de-DE" dirty="0"/>
          </a:p>
        </p:txBody>
      </p:sp>
      <p:sp>
        <p:nvSpPr>
          <p:cNvPr id="106" name="Textfeld 42">
            <a:extLst>
              <a:ext uri="{FF2B5EF4-FFF2-40B4-BE49-F238E27FC236}">
                <a16:creationId xmlns:a16="http://schemas.microsoft.com/office/drawing/2014/main" id="{69E1EAAF-35F1-523E-064F-3A85AF58EAD6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5823988" y="2607287"/>
            <a:ext cx="990475" cy="80439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txBody>
          <a:bodyPr wrap="square" lIns="91440" tIns="45720" rIns="91440" bIns="45720" rtlCol="0">
            <a:noAutofit/>
          </a:bodyPr>
          <a:lstStyle>
            <a:defPPr>
              <a:defRPr lang="de-DE"/>
            </a:defPPr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pt-BR" dirty="0"/>
              <a:t>Transferência de dados via conexão segura
</a:t>
            </a:r>
            <a:endParaRPr lang="de-DE" dirty="0"/>
          </a:p>
        </p:txBody>
      </p:sp>
      <p:pic>
        <p:nvPicPr>
          <p:cNvPr id="107" name="Grafik 49">
            <a:extLst>
              <a:ext uri="{FF2B5EF4-FFF2-40B4-BE49-F238E27FC236}">
                <a16:creationId xmlns:a16="http://schemas.microsoft.com/office/drawing/2014/main" id="{5E0CF1F1-6A64-C5D4-29EF-A36805C917DF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4"/>
          <a:stretch>
            <a:fillRect/>
          </a:stretch>
        </p:blipFill>
        <p:spPr>
          <a:xfrm>
            <a:off x="4711481" y="3526161"/>
            <a:ext cx="363292" cy="488916"/>
          </a:xfrm>
          <a:prstGeom prst="rect">
            <a:avLst/>
          </a:prstGeom>
        </p:spPr>
      </p:pic>
      <p:cxnSp>
        <p:nvCxnSpPr>
          <p:cNvPr id="108" name="Gerade Verbindung mit Pfeil 50">
            <a:extLst>
              <a:ext uri="{FF2B5EF4-FFF2-40B4-BE49-F238E27FC236}">
                <a16:creationId xmlns:a16="http://schemas.microsoft.com/office/drawing/2014/main" id="{CC6DD28C-4C8A-C24F-136D-56FF7BD24D07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 flipH="1">
            <a:off x="5030899" y="4287389"/>
            <a:ext cx="1594828" cy="236346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mit Pfeil 51">
            <a:extLst>
              <a:ext uri="{FF2B5EF4-FFF2-40B4-BE49-F238E27FC236}">
                <a16:creationId xmlns:a16="http://schemas.microsoft.com/office/drawing/2014/main" id="{3160B742-6832-2C51-6DF9-712B4418BCFC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 flipH="1" flipV="1">
            <a:off x="5108595" y="3755656"/>
            <a:ext cx="1517132" cy="445242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feld 52">
            <a:extLst>
              <a:ext uri="{FF2B5EF4-FFF2-40B4-BE49-F238E27FC236}">
                <a16:creationId xmlns:a16="http://schemas.microsoft.com/office/drawing/2014/main" id="{EEA121B6-53D4-36D4-85EB-B20C335A5CF2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 rot="20984740">
            <a:off x="5342471" y="4381092"/>
            <a:ext cx="15537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Monitoramento Preditivo</a:t>
            </a:r>
          </a:p>
        </p:txBody>
      </p:sp>
      <p:sp>
        <p:nvSpPr>
          <p:cNvPr id="111" name="Textfeld 53">
            <a:extLst>
              <a:ext uri="{FF2B5EF4-FFF2-40B4-BE49-F238E27FC236}">
                <a16:creationId xmlns:a16="http://schemas.microsoft.com/office/drawing/2014/main" id="{47CD8269-B226-E9F0-295F-F83CF76A4078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 rot="1177550">
            <a:off x="5578616" y="3766463"/>
            <a:ext cx="9703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Informações</a:t>
            </a:r>
          </a:p>
        </p:txBody>
      </p:sp>
      <p:cxnSp>
        <p:nvCxnSpPr>
          <p:cNvPr id="112" name="Gerade Verbindung mit Pfeil 57">
            <a:extLst>
              <a:ext uri="{FF2B5EF4-FFF2-40B4-BE49-F238E27FC236}">
                <a16:creationId xmlns:a16="http://schemas.microsoft.com/office/drawing/2014/main" id="{9C313D02-1B9F-BD26-0419-03DA017ED30C}"/>
              </a:ext>
            </a:extLst>
          </p:cNvPr>
          <p:cNvCxnSpPr>
            <a:cxnSpLocks/>
            <a:endCxn id="113" idx="3"/>
          </p:cNvCxnSpPr>
          <p:nvPr>
            <p:custDataLst>
              <p:tags r:id="rId20"/>
            </p:custDataLst>
          </p:nvPr>
        </p:nvCxnSpPr>
        <p:spPr>
          <a:xfrm flipH="1">
            <a:off x="1694479" y="4114150"/>
            <a:ext cx="1437361" cy="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Imagem 112">
            <a:extLst>
              <a:ext uri="{FF2B5EF4-FFF2-40B4-BE49-F238E27FC236}">
                <a16:creationId xmlns:a16="http://schemas.microsoft.com/office/drawing/2014/main" id="{2338BDCD-D0BB-5B39-F396-309593BB6094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90329" y="3631857"/>
            <a:ext cx="1504150" cy="964586"/>
          </a:xfrm>
          <a:prstGeom prst="rect">
            <a:avLst/>
          </a:prstGeom>
        </p:spPr>
      </p:pic>
      <p:pic>
        <p:nvPicPr>
          <p:cNvPr id="115" name="Imagem 114">
            <a:extLst>
              <a:ext uri="{FF2B5EF4-FFF2-40B4-BE49-F238E27FC236}">
                <a16:creationId xmlns:a16="http://schemas.microsoft.com/office/drawing/2014/main" id="{4B1A6647-28F3-E0C9-0F44-99341BDF7BC7}"/>
              </a:ext>
            </a:extLst>
          </p:cNvPr>
          <p:cNvPicPr>
            <a:picLocks noChangeAspect="1"/>
          </p:cNvPicPr>
          <p:nvPr/>
        </p:nvPicPr>
        <p:blipFill rotWithShape="1">
          <a:blip r:embed="rId36"/>
          <a:srcRect t="16165" r="3150" b="11670"/>
          <a:stretch/>
        </p:blipFill>
        <p:spPr>
          <a:xfrm rot="5400000">
            <a:off x="3532357" y="1625124"/>
            <a:ext cx="873767" cy="867535"/>
          </a:xfrm>
          <a:prstGeom prst="rect">
            <a:avLst/>
          </a:prstGeom>
          <a:effectLst>
            <a:outerShdw blurRad="50800" dist="50800" algn="ctr" rotWithShape="0">
              <a:srgbClr val="000000">
                <a:alpha val="0"/>
              </a:srgbClr>
            </a:outerShdw>
          </a:effectLst>
        </p:spPr>
      </p:pic>
      <p:grpSp>
        <p:nvGrpSpPr>
          <p:cNvPr id="116" name="Agrupar 115">
            <a:extLst>
              <a:ext uri="{FF2B5EF4-FFF2-40B4-BE49-F238E27FC236}">
                <a16:creationId xmlns:a16="http://schemas.microsoft.com/office/drawing/2014/main" id="{220521CE-1A00-B559-E739-C9846BB21EF1}"/>
              </a:ext>
            </a:extLst>
          </p:cNvPr>
          <p:cNvGrpSpPr/>
          <p:nvPr/>
        </p:nvGrpSpPr>
        <p:grpSpPr>
          <a:xfrm>
            <a:off x="6874292" y="1448706"/>
            <a:ext cx="1850046" cy="3123979"/>
            <a:chOff x="6691412" y="1281750"/>
            <a:chExt cx="2246689" cy="4006806"/>
          </a:xfrm>
        </p:grpSpPr>
        <p:sp>
          <p:nvSpPr>
            <p:cNvPr id="117" name="Textfeld 39">
              <a:extLst>
                <a:ext uri="{FF2B5EF4-FFF2-40B4-BE49-F238E27FC236}">
                  <a16:creationId xmlns:a16="http://schemas.microsoft.com/office/drawing/2014/main" id="{BA51D37B-4CE7-EA5F-093C-6062EF059A08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>
            <a:xfrm>
              <a:off x="6725711" y="1353380"/>
              <a:ext cx="2121267" cy="50376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/>
          </p:spPr>
          <p:txBody>
            <a:bodyPr wrap="square" lIns="91440" tIns="45720" rIns="91440" bIns="45720" rtlCol="0">
              <a:noAutofit/>
            </a:bodyPr>
            <a:lstStyle>
              <a:defPPr>
                <a:defRPr lang="de-DE"/>
              </a:defPPr>
              <a:lvl1pPr>
                <a:defRPr sz="900">
                  <a:solidFill>
                    <a:srgbClr val="000000"/>
                  </a:solidFill>
                </a:defRPr>
              </a:lvl1pPr>
            </a:lstStyle>
            <a:p>
              <a:pPr algn="ctr"/>
              <a:r>
                <a:rPr lang="pt-BR" dirty="0"/>
                <a:t>Armazenamento dos </a:t>
              </a:r>
            </a:p>
            <a:p>
              <a:pPr algn="ctr"/>
              <a:r>
                <a:rPr lang="pt-BR" dirty="0"/>
                <a:t>dados na Hydac
</a:t>
              </a:r>
              <a:endParaRPr lang="de-DE" dirty="0"/>
            </a:p>
          </p:txBody>
        </p:sp>
        <p:sp>
          <p:nvSpPr>
            <p:cNvPr id="118" name="Textfeld 43">
              <a:extLst>
                <a:ext uri="{FF2B5EF4-FFF2-40B4-BE49-F238E27FC236}">
                  <a16:creationId xmlns:a16="http://schemas.microsoft.com/office/drawing/2014/main" id="{83458390-3613-9AB0-2EF6-4FE518BE624A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>
            <a:xfrm>
              <a:off x="6734235" y="4815455"/>
              <a:ext cx="2121266" cy="44693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/>
          </p:spPr>
          <p:txBody>
            <a:bodyPr wrap="square" lIns="91440" tIns="45720" rIns="91440" bIns="45720" rtlCol="0">
              <a:noAutofit/>
            </a:bodyPr>
            <a:lstStyle>
              <a:defPPr>
                <a:defRPr lang="de-DE"/>
              </a:defPPr>
              <a:lvl1pPr>
                <a:defRPr sz="900">
                  <a:solidFill>
                    <a:srgbClr val="000000"/>
                  </a:solidFill>
                </a:defRPr>
              </a:lvl1pPr>
            </a:lstStyle>
            <a:p>
              <a:pPr algn="ctr"/>
              <a:r>
                <a:rPr lang="en-US" dirty="0" err="1"/>
                <a:t>Análise</a:t>
              </a:r>
              <a:r>
                <a:rPr lang="en-US" dirty="0"/>
                <a:t> de dados
</a:t>
              </a:r>
              <a:endParaRPr lang="de-DE" dirty="0"/>
            </a:p>
          </p:txBody>
        </p:sp>
        <p:sp>
          <p:nvSpPr>
            <p:cNvPr id="119" name="Textfeld 47">
              <a:extLst>
                <a:ext uri="{FF2B5EF4-FFF2-40B4-BE49-F238E27FC236}">
                  <a16:creationId xmlns:a16="http://schemas.microsoft.com/office/drawing/2014/main" id="{2B7A77E2-00A1-6CC3-EF1E-52C57CC5087D}"/>
                </a:ext>
              </a:extLst>
            </p:cNvPr>
            <p:cNvSpPr txBox="1"/>
            <p:nvPr>
              <p:custDataLst>
                <p:tags r:id="rId28"/>
              </p:custDataLst>
            </p:nvPr>
          </p:nvSpPr>
          <p:spPr>
            <a:xfrm>
              <a:off x="6889903" y="4487156"/>
              <a:ext cx="1853385" cy="414787"/>
            </a:xfrm>
            <a:prstGeom prst="rect">
              <a:avLst/>
            </a:prstGeom>
            <a:solidFill>
              <a:scrgbClr r="0" g="0" b="0">
                <a:alpha val="0"/>
              </a:scrgbClr>
            </a:solidFill>
            <a:ln/>
          </p:spPr>
          <p:txBody>
            <a:bodyPr wrap="square" lIns="91440" tIns="45720" rIns="91440" bIns="45720" rtlCol="0">
              <a:noAutofit/>
            </a:bodyPr>
            <a:lstStyle/>
            <a:p>
              <a:r>
                <a:rPr lang="de-DE" sz="900" dirty="0">
                  <a:solidFill>
                    <a:srgbClr val="000000"/>
                  </a:solidFill>
                </a:rPr>
                <a:t>Portal de Serviços Hydac
</a:t>
              </a:r>
            </a:p>
          </p:txBody>
        </p:sp>
        <p:sp>
          <p:nvSpPr>
            <p:cNvPr id="120" name="Rechteck 58">
              <a:extLst>
                <a:ext uri="{FF2B5EF4-FFF2-40B4-BE49-F238E27FC236}">
                  <a16:creationId xmlns:a16="http://schemas.microsoft.com/office/drawing/2014/main" id="{8E6987B9-F7D9-2C35-7DB6-0BB26BB09282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6691412" y="1281750"/>
              <a:ext cx="2246689" cy="4006806"/>
            </a:xfrm>
            <a:prstGeom prst="rect">
              <a:avLst/>
            </a:prstGeom>
            <a:noFill/>
            <a:ln w="12700"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1" name="Imagem 120">
              <a:extLst>
                <a:ext uri="{FF2B5EF4-FFF2-40B4-BE49-F238E27FC236}">
                  <a16:creationId xmlns:a16="http://schemas.microsoft.com/office/drawing/2014/main" id="{A5209F9E-27A2-3F48-76FF-304C1EFDC8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6764981" y="2291608"/>
              <a:ext cx="2085335" cy="899401"/>
            </a:xfrm>
            <a:prstGeom prst="rect">
              <a:avLst/>
            </a:prstGeom>
          </p:spPr>
        </p:pic>
        <p:pic>
          <p:nvPicPr>
            <p:cNvPr id="122" name="Imagem 121" descr="Logotipo&#10;&#10;Descrição gerada automaticamente com confiança média">
              <a:extLst>
                <a:ext uri="{FF2B5EF4-FFF2-40B4-BE49-F238E27FC236}">
                  <a16:creationId xmlns:a16="http://schemas.microsoft.com/office/drawing/2014/main" id="{B7E06E39-45EA-AAC5-4244-2CEAA6A3B6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48" t="35168"/>
            <a:stretch/>
          </p:blipFill>
          <p:spPr>
            <a:xfrm>
              <a:off x="6759385" y="3434542"/>
              <a:ext cx="2114421" cy="954229"/>
            </a:xfrm>
            <a:prstGeom prst="rect">
              <a:avLst/>
            </a:prstGeom>
          </p:spPr>
        </p:pic>
      </p:grpSp>
      <p:pic>
        <p:nvPicPr>
          <p:cNvPr id="123" name="Imagem 122" descr="Foto em preto e branco&#10;&#10;Descrição gerada automaticamente">
            <a:extLst>
              <a:ext uri="{FF2B5EF4-FFF2-40B4-BE49-F238E27FC236}">
                <a16:creationId xmlns:a16="http://schemas.microsoft.com/office/drawing/2014/main" id="{9A89FEA2-B430-6704-D5E2-5F8E856FE17C}"/>
              </a:ext>
            </a:extLst>
          </p:cNvPr>
          <p:cNvPicPr>
            <a:picLocks noChangeAspect="1"/>
          </p:cNvPicPr>
          <p:nvPr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48774" y="1783485"/>
            <a:ext cx="1106480" cy="606190"/>
          </a:xfrm>
          <a:prstGeom prst="rect">
            <a:avLst/>
          </a:prstGeom>
        </p:spPr>
      </p:pic>
      <p:sp>
        <p:nvSpPr>
          <p:cNvPr id="124" name="Textfeld 32">
            <a:extLst>
              <a:ext uri="{FF2B5EF4-FFF2-40B4-BE49-F238E27FC236}">
                <a16:creationId xmlns:a16="http://schemas.microsoft.com/office/drawing/2014/main" id="{6A0BAB65-BD05-8F35-DEC2-90E984EA765E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3205214" y="3755656"/>
            <a:ext cx="1088670" cy="86044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txBody>
          <a:bodyPr wrap="square" lIns="91440" tIns="45720" rIns="91440" bIns="45720" rtlCol="0">
            <a:noAutofit/>
          </a:bodyPr>
          <a:lstStyle>
            <a:defPPr>
              <a:defRPr lang="de-DE"/>
            </a:defPPr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pt-BR" dirty="0"/>
              <a:t>Relatório de perigo, Status de funcionamento/ condição e recomendação de ação.
</a:t>
            </a:r>
            <a:endParaRPr lang="de-DE" dirty="0"/>
          </a:p>
        </p:txBody>
      </p:sp>
      <p:sp>
        <p:nvSpPr>
          <p:cNvPr id="126" name="Textfeld 27">
            <a:extLst>
              <a:ext uri="{FF2B5EF4-FFF2-40B4-BE49-F238E27FC236}">
                <a16:creationId xmlns:a16="http://schemas.microsoft.com/office/drawing/2014/main" id="{7E775169-EC39-A040-120A-779825C75250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3595639" y="1345842"/>
            <a:ext cx="737070" cy="207971"/>
          </a:xfrm>
          <a:prstGeom prst="rect">
            <a:avLst/>
          </a:prstGeom>
          <a:solidFill>
            <a:scrgbClr r="0" g="0" b="0">
              <a:alpha val="0"/>
            </a:scrgbClr>
          </a:solidFill>
          <a:ln/>
        </p:spPr>
        <p:txBody>
          <a:bodyPr wrap="square" lIns="91440" tIns="45720" rIns="91440" bIns="45720" rtlCol="0">
            <a:no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Painel IOT</a:t>
            </a:r>
          </a:p>
        </p:txBody>
      </p:sp>
      <p:pic>
        <p:nvPicPr>
          <p:cNvPr id="127" name="Imagem 126">
            <a:extLst>
              <a:ext uri="{FF2B5EF4-FFF2-40B4-BE49-F238E27FC236}">
                <a16:creationId xmlns:a16="http://schemas.microsoft.com/office/drawing/2014/main" id="{984A94DB-398E-6FAA-5AD5-5D3E294305F0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5854555" y="1670004"/>
            <a:ext cx="850914" cy="850914"/>
          </a:xfrm>
          <a:prstGeom prst="rect">
            <a:avLst/>
          </a:prstGeom>
        </p:spPr>
      </p:pic>
      <p:sp>
        <p:nvSpPr>
          <p:cNvPr id="128" name="Textfeld 27">
            <a:extLst>
              <a:ext uri="{FF2B5EF4-FFF2-40B4-BE49-F238E27FC236}">
                <a16:creationId xmlns:a16="http://schemas.microsoft.com/office/drawing/2014/main" id="{2E99A1DD-0522-E14B-16C1-EC52D79765FE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1708149" y="4185880"/>
            <a:ext cx="973280" cy="207971"/>
          </a:xfrm>
          <a:prstGeom prst="rect">
            <a:avLst/>
          </a:prstGeom>
          <a:solidFill>
            <a:scrgbClr r="0" g="0" b="0">
              <a:alpha val="0"/>
            </a:scrgbClr>
          </a:solidFill>
          <a:ln/>
        </p:spPr>
        <p:txBody>
          <a:bodyPr wrap="square" lIns="91440" tIns="45720" rIns="91440" bIns="45720" rtlCol="0">
            <a:no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Equipe Sevice </a:t>
            </a:r>
          </a:p>
        </p:txBody>
      </p:sp>
      <p:pic>
        <p:nvPicPr>
          <p:cNvPr id="129" name="Picture 2" descr="IO-Link Master Gateways 2 - Pepperl+Fuchs Comtrol">
            <a:extLst>
              <a:ext uri="{FF2B5EF4-FFF2-40B4-BE49-F238E27FC236}">
                <a16:creationId xmlns:a16="http://schemas.microsoft.com/office/drawing/2014/main" id="{5BBE86A1-78C7-8F67-B67A-BAF9B6DAB0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54" t="9824" r="62914" b="11587"/>
          <a:stretch/>
        </p:blipFill>
        <p:spPr bwMode="auto">
          <a:xfrm rot="21377539">
            <a:off x="2278712" y="1626972"/>
            <a:ext cx="174806" cy="540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15">
            <a:extLst>
              <a:ext uri="{FF2B5EF4-FFF2-40B4-BE49-F238E27FC236}">
                <a16:creationId xmlns:a16="http://schemas.microsoft.com/office/drawing/2014/main" id="{FF91A343-FB0F-8586-2A40-A32374701724}"/>
              </a:ext>
            </a:extLst>
          </p:cNvPr>
          <p:cNvPicPr>
            <a:picLocks noChangeAspect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6084" y="1906740"/>
            <a:ext cx="426121" cy="3118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1" name="Imagem 130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D82C130F-FFA3-3902-F229-86A818A054EB}"/>
              </a:ext>
            </a:extLst>
          </p:cNvPr>
          <p:cNvPicPr>
            <a:picLocks noChangeAspect="1"/>
          </p:cNvPicPr>
          <p:nvPr/>
        </p:nvPicPr>
        <p:blipFill rotWithShape="1">
          <a:blip r:embed="rId4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4" t="19380" r="4071" b="16065"/>
          <a:stretch/>
        </p:blipFill>
        <p:spPr>
          <a:xfrm rot="20827483">
            <a:off x="2506851" y="1648085"/>
            <a:ext cx="576162" cy="408655"/>
          </a:xfrm>
          <a:prstGeom prst="rect">
            <a:avLst/>
          </a:prstGeom>
        </p:spPr>
      </p:pic>
      <p:pic>
        <p:nvPicPr>
          <p:cNvPr id="132" name="Picture 2" descr="VL – differential pressure indicator (low-pressure) | HYDAC">
            <a:extLst>
              <a:ext uri="{FF2B5EF4-FFF2-40B4-BE49-F238E27FC236}">
                <a16:creationId xmlns:a16="http://schemas.microsoft.com/office/drawing/2014/main" id="{B1ABF439-87F2-6883-7F84-FBD417DB4A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6912" y="2507465"/>
            <a:ext cx="270588" cy="27058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Imagem 132" descr="Caixa de papelão&#10;&#10;Descrição gerada automaticamente">
            <a:extLst>
              <a:ext uri="{FF2B5EF4-FFF2-40B4-BE49-F238E27FC236}">
                <a16:creationId xmlns:a16="http://schemas.microsoft.com/office/drawing/2014/main" id="{BDFFBCAE-6FB6-996A-1604-19757BDD2CB3}"/>
              </a:ext>
            </a:extLst>
          </p:cNvPr>
          <p:cNvPicPr>
            <a:picLocks noChangeAspect="1"/>
          </p:cNvPicPr>
          <p:nvPr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998" y="2498561"/>
            <a:ext cx="251539" cy="252877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34" name="Agrupar 133">
            <a:extLst>
              <a:ext uri="{FF2B5EF4-FFF2-40B4-BE49-F238E27FC236}">
                <a16:creationId xmlns:a16="http://schemas.microsoft.com/office/drawing/2014/main" id="{B993A58E-FD9C-005D-93B4-5AF31AE9B544}"/>
              </a:ext>
            </a:extLst>
          </p:cNvPr>
          <p:cNvGrpSpPr/>
          <p:nvPr/>
        </p:nvGrpSpPr>
        <p:grpSpPr>
          <a:xfrm>
            <a:off x="1748555" y="2488612"/>
            <a:ext cx="293801" cy="272776"/>
            <a:chOff x="7629078" y="4538426"/>
            <a:chExt cx="782197" cy="782197"/>
          </a:xfrm>
        </p:grpSpPr>
        <p:sp>
          <p:nvSpPr>
            <p:cNvPr id="135" name="Retângulo 134">
              <a:extLst>
                <a:ext uri="{FF2B5EF4-FFF2-40B4-BE49-F238E27FC236}">
                  <a16:creationId xmlns:a16="http://schemas.microsoft.com/office/drawing/2014/main" id="{8A8D6CD4-8EA6-32D5-490B-4C5283721048}"/>
                </a:ext>
              </a:extLst>
            </p:cNvPr>
            <p:cNvSpPr/>
            <p:nvPr/>
          </p:nvSpPr>
          <p:spPr>
            <a:xfrm>
              <a:off x="7629078" y="4538426"/>
              <a:ext cx="782197" cy="78219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136" name="Picture 6">
              <a:extLst>
                <a:ext uri="{FF2B5EF4-FFF2-40B4-BE49-F238E27FC236}">
                  <a16:creationId xmlns:a16="http://schemas.microsoft.com/office/drawing/2014/main" id="{5194B80F-7483-34C9-B6E8-51E13EDCD0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email">
              <a:extLst>
                <a:ext uri="{BEBA8EAE-BF5A-486C-A8C5-ECC9F3942E4B}">
                  <a14:imgProps xmlns:a14="http://schemas.microsoft.com/office/drawing/2010/main">
                    <a14:imgLayer r:embed="rId47">
                      <a14:imgEffect>
                        <a14:backgroundRemoval t="3000" b="97600" l="1026" r="94359">
                          <a14:foregroundMark x1="94103" y1="55800" x2="94359" y2="49000"/>
                          <a14:foregroundMark x1="28718" y1="89800" x2="10000" y2="72600"/>
                          <a14:foregroundMark x1="19231" y1="92600" x2="5385" y2="81200"/>
                          <a14:foregroundMark x1="5385" y1="77000" x2="5385" y2="83600"/>
                          <a14:foregroundMark x1="18462" y1="97600" x2="26667" y2="94600"/>
                          <a14:foregroundMark x1="1538" y1="78800" x2="1538" y2="78800"/>
                          <a14:foregroundMark x1="50256" y1="16400" x2="49487" y2="8200"/>
                          <a14:foregroundMark x1="50256" y1="5400" x2="50000" y2="300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2816" y="4572515"/>
              <a:ext cx="580273" cy="743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41" name="Imagem 140" descr="Ícone&#10;&#10;Descrição gerada automaticamente">
            <a:extLst>
              <a:ext uri="{FF2B5EF4-FFF2-40B4-BE49-F238E27FC236}">
                <a16:creationId xmlns:a16="http://schemas.microsoft.com/office/drawing/2014/main" id="{380CACA2-456D-973D-5081-5A1BBFBD809A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4526974" y="4147943"/>
            <a:ext cx="489218" cy="488916"/>
          </a:xfrm>
          <a:prstGeom prst="rect">
            <a:avLst/>
          </a:prstGeom>
        </p:spPr>
      </p:pic>
      <p:pic>
        <p:nvPicPr>
          <p:cNvPr id="3" name="Picture 3" descr="C:\BKP_YAMASAKY\ENERGIA\ZÉ CARLOS\FOTOS\2015.07.28 - PCH SALTO CURUCACA\DSC06581.JPG">
            <a:extLst>
              <a:ext uri="{FF2B5EF4-FFF2-40B4-BE49-F238E27FC236}">
                <a16:creationId xmlns:a16="http://schemas.microsoft.com/office/drawing/2014/main" id="{D9B8BDD1-070B-3513-B74C-8524E94DE1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2" t="4616" r="28121" b="4778"/>
          <a:stretch/>
        </p:blipFill>
        <p:spPr bwMode="auto">
          <a:xfrm>
            <a:off x="1225943" y="1553813"/>
            <a:ext cx="682127" cy="75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628F53C0-430A-4C10-40F4-79FE9E7A2792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138433" y="1731321"/>
            <a:ext cx="893644" cy="599157"/>
          </a:xfrm>
          <a:prstGeom prst="rect">
            <a:avLst/>
          </a:prstGeom>
        </p:spPr>
      </p:pic>
      <p:sp>
        <p:nvSpPr>
          <p:cNvPr id="8" name="Textfeld 23">
            <a:extLst>
              <a:ext uri="{FF2B5EF4-FFF2-40B4-BE49-F238E27FC236}">
                <a16:creationId xmlns:a16="http://schemas.microsoft.com/office/drawing/2014/main" id="{7F58625A-1D7D-9AEE-2DEB-581D8064AD72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177778" y="1444425"/>
            <a:ext cx="833320" cy="230832"/>
          </a:xfrm>
          <a:prstGeom prst="rect">
            <a:avLst/>
          </a:prstGeom>
          <a:solidFill>
            <a:scrgbClr r="0" g="0" b="0">
              <a:alpha val="0"/>
            </a:scrgbClr>
          </a:solidFill>
          <a:ln/>
        </p:spPr>
        <p:txBody>
          <a:bodyPr wrap="square" lIns="91440" tIns="45720" rIns="91440" bIns="45720" rtlCol="0">
            <a:noAutofit/>
          </a:bodyPr>
          <a:lstStyle/>
          <a:p>
            <a:r>
              <a:rPr lang="de-DE" sz="900" dirty="0">
                <a:solidFill>
                  <a:srgbClr val="000000"/>
                </a:solidFill>
              </a:rPr>
              <a:t>Análise</a:t>
            </a:r>
          </a:p>
        </p:txBody>
      </p:sp>
      <p:sp>
        <p:nvSpPr>
          <p:cNvPr id="9" name="Textfeld 26">
            <a:extLst>
              <a:ext uri="{FF2B5EF4-FFF2-40B4-BE49-F238E27FC236}">
                <a16:creationId xmlns:a16="http://schemas.microsoft.com/office/drawing/2014/main" id="{68A34BAB-844E-A259-36E2-05FC420B231F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39467" y="2828634"/>
            <a:ext cx="950286" cy="40404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txBody>
          <a:bodyPr wrap="square" lIns="91440" tIns="45720" rIns="91440" bIns="45720" rtlCol="0">
            <a:noAutofit/>
          </a:bodyPr>
          <a:lstStyle/>
          <a:p>
            <a:pPr algn="ctr"/>
            <a:r>
              <a:rPr lang="pt-BR" sz="900" dirty="0">
                <a:solidFill>
                  <a:srgbClr val="000000"/>
                </a:solidFill>
              </a:rPr>
              <a:t>Especificação da Solução.</a:t>
            </a:r>
            <a:endParaRPr lang="de-DE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8502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E8B512B-0BB7-285E-7259-C5F7D5A30B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E8B512B-0BB7-285E-7259-C5F7D5A30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7A489-C07F-DF3C-F0D9-54184C723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.</a:t>
            </a:r>
            <a:br>
              <a:rPr lang="de-DE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7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que é o SFC?</a:t>
            </a:r>
            <a:endParaRPr lang="de-DE" sz="17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2F952EF-B5F1-C929-6F60-EA773725FD9C}"/>
              </a:ext>
            </a:extLst>
          </p:cNvPr>
          <p:cNvSpPr txBox="1">
            <a:spLocks/>
          </p:cNvSpPr>
          <p:nvPr/>
        </p:nvSpPr>
        <p:spPr>
          <a:xfrm>
            <a:off x="576262" y="1058864"/>
            <a:ext cx="3239838" cy="3384546"/>
          </a:xfrm>
          <a:prstGeom prst="rect">
            <a:avLst/>
          </a:prstGeom>
        </p:spPr>
        <p:txBody>
          <a:bodyPr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ito de Operação!</a:t>
            </a:r>
          </a:p>
          <a:p>
            <a:pPr marL="0" indent="0" defTabSz="457200">
              <a:buFont typeface="Wingdings" panose="05000000000000000000" pitchFamily="2" charset="2"/>
              <a:buNone/>
            </a:pPr>
            <a:endParaRPr lang="de-DE" sz="1200" b="1" dirty="0">
              <a:solidFill>
                <a:srgbClr val="E2001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Conceito do sistema Hydac SFC!</a:t>
            </a:r>
          </a:p>
        </p:txBody>
      </p:sp>
      <p:sp>
        <p:nvSpPr>
          <p:cNvPr id="3" name="Rechteck 19">
            <a:extLst>
              <a:ext uri="{FF2B5EF4-FFF2-40B4-BE49-F238E27FC236}">
                <a16:creationId xmlns:a16="http://schemas.microsoft.com/office/drawing/2014/main" id="{0FA89884-37DE-53DB-6D74-41C76AAA04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738723" y="1383473"/>
            <a:ext cx="6545992" cy="7252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 Análise e definição do valor de referência para comportamento de operação "normal"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endizagem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pt-B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o contínuo dos dados dos sensores
Análise e definição de dados do comportamento de operação "normal" 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pt-B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bição do valor de referência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22">
            <a:extLst>
              <a:ext uri="{FF2B5EF4-FFF2-40B4-BE49-F238E27FC236}">
                <a16:creationId xmlns:a16="http://schemas.microsoft.com/office/drawing/2014/main" id="{D6C819DA-E438-90FB-D386-160BCBCA40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738723" y="2479368"/>
            <a:ext cx="6545992" cy="7482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o do desvio do valor de referência (fase de monitoramento)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pt-B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vação contínua de todos os dados dos sensores
Análise e definição de dados do desvio do valor de referência
Exibição da situação atual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hteck 23">
            <a:extLst>
              <a:ext uri="{FF2B5EF4-FFF2-40B4-BE49-F238E27FC236}">
                <a16:creationId xmlns:a16="http://schemas.microsoft.com/office/drawing/2014/main" id="{85850C8B-C1F7-43A5-EF35-7346C282ECA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738722" y="3395692"/>
            <a:ext cx="6642101" cy="612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defRPr/>
            </a:pPr>
            <a:r>
              <a:rPr lang="pt-B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Definindo ponto de ação para a substituição dos componentes (fase de ação)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pt-B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análise de dados mostra um desvio crítico do valor de referência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endação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stituição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en-US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nente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1433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6025F75-1CE7-491F-AE8D-379FCD0FAD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6025F75-1CE7-491F-AE8D-379FCD0FA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EBEF64-404A-8C04-BD31-5B5825601EB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pt-BR" dirty="0">
                <a:solidFill>
                  <a:srgbClr val="5459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is as Vantagens?
</a:t>
            </a:r>
            <a:endParaRPr lang="de-DE" dirty="0">
              <a:solidFill>
                <a:srgbClr val="A0A3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5D88D4E-7AD8-5EFF-3D73-7F9D4ACC85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40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311906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6025F75-1CE7-491F-AE8D-379FCD0FAD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6025F75-1CE7-491F-AE8D-379FCD0FA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EBEF64-404A-8C04-BD31-5B5825601EB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pt-BR" dirty="0">
                <a:solidFill>
                  <a:srgbClr val="5459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esentação
</a:t>
            </a:r>
            <a:endParaRPr lang="de-DE" dirty="0">
              <a:solidFill>
                <a:srgbClr val="A0A3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5D88D4E-7AD8-5EFF-3D73-7F9D4ACC85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40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8127503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E8B512B-0BB7-285E-7259-C5F7D5A30B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E8B512B-0BB7-285E-7259-C5F7D5A30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7A489-C07F-DF3C-F0D9-54184C723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.</a:t>
            </a:r>
            <a:br>
              <a:rPr lang="de-DE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7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is as vantagens?</a:t>
            </a:r>
            <a:endParaRPr lang="de-DE" sz="17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2F952EF-B5F1-C929-6F60-EA773725FD9C}"/>
              </a:ext>
            </a:extLst>
          </p:cNvPr>
          <p:cNvSpPr txBox="1">
            <a:spLocks/>
          </p:cNvSpPr>
          <p:nvPr/>
        </p:nvSpPr>
        <p:spPr>
          <a:xfrm>
            <a:off x="576262" y="1058864"/>
            <a:ext cx="2712947" cy="3384546"/>
          </a:xfrm>
          <a:prstGeom prst="rect">
            <a:avLst/>
          </a:prstGeom>
        </p:spPr>
        <p:txBody>
          <a:bodyPr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ntagens</a:t>
            </a:r>
          </a:p>
          <a:p>
            <a:pPr marL="0" indent="0" defTabSz="457200">
              <a:buFont typeface="Wingdings" panose="05000000000000000000" pitchFamily="2" charset="2"/>
              <a:buNone/>
            </a:pPr>
            <a:endParaRPr lang="de-DE" sz="1200" b="1" dirty="0">
              <a:solidFill>
                <a:srgbClr val="E2001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/>
              <a:t>O projeto Smart Fluid Connection oferece uma série de beneficios, dentre eles destacamos: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EA23015-14A9-78EA-B173-482379F68416}"/>
              </a:ext>
            </a:extLst>
          </p:cNvPr>
          <p:cNvSpPr txBox="1"/>
          <p:nvPr/>
        </p:nvSpPr>
        <p:spPr>
          <a:xfrm>
            <a:off x="3506299" y="880278"/>
            <a:ext cx="5118007" cy="37548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400" dirty="0">
                <a:latin typeface="Arial" panose="020B0604020202020204" pitchFamily="34" charset="0"/>
              </a:rPr>
              <a:t>Solução Completa </a:t>
            </a:r>
            <a:r>
              <a:rPr lang="pt-BR" sz="1400" dirty="0" err="1">
                <a:latin typeface="Arial" panose="020B0604020202020204" pitchFamily="34" charset="0"/>
              </a:rPr>
              <a:t>Hydac</a:t>
            </a:r>
            <a:r>
              <a:rPr lang="pt-BR" sz="1400" dirty="0">
                <a:latin typeface="Arial" panose="020B0604020202020204" pitchFamily="34" charset="0"/>
              </a:rPr>
              <a:t>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1400" dirty="0"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400" dirty="0">
                <a:latin typeface="Arial" panose="020B0604020202020204" pitchFamily="34" charset="0"/>
              </a:rPr>
              <a:t>Projeto Customizado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1400" dirty="0"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400" dirty="0">
                <a:latin typeface="Arial" panose="020B0604020202020204" pitchFamily="34" charset="0"/>
              </a:rPr>
              <a:t>Acompanhamento time de especialistas </a:t>
            </a:r>
            <a:r>
              <a:rPr lang="pt-BR" sz="1400" dirty="0" err="1">
                <a:latin typeface="Arial" panose="020B0604020202020204" pitchFamily="34" charset="0"/>
              </a:rPr>
              <a:t>Hydac</a:t>
            </a:r>
            <a:endParaRPr lang="pt-BR" sz="1400" dirty="0"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1400" dirty="0"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400" dirty="0">
                <a:latin typeface="Arial" panose="020B0604020202020204" pitchFamily="34" charset="0"/>
              </a:rPr>
              <a:t>Monitoramento 24/7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1400" dirty="0"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400" dirty="0">
                <a:latin typeface="Arial" panose="020B0604020202020204" pitchFamily="34" charset="0"/>
              </a:rPr>
              <a:t>Manutenção preventiva antes que algo aconteça.</a:t>
            </a:r>
          </a:p>
          <a:p>
            <a:endParaRPr lang="pt-BR" sz="1400" dirty="0"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400" dirty="0">
                <a:latin typeface="Arial" panose="020B0604020202020204" pitchFamily="34" charset="0"/>
              </a:rPr>
              <a:t>Melhor planejamento das atividades de manutenção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1400" dirty="0"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400" dirty="0">
                <a:latin typeface="Arial" panose="020B0604020202020204" pitchFamily="34" charset="0"/>
              </a:rPr>
              <a:t>Explorar a vida máxima dos componentes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1400" dirty="0"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400" dirty="0">
                <a:latin typeface="Arial" panose="020B0604020202020204" pitchFamily="34" charset="0"/>
              </a:rPr>
              <a:t>Aumento da produtividade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pt-BR" sz="1400" dirty="0"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BR" sz="1400" dirty="0">
                <a:latin typeface="Arial" panose="020B0604020202020204" pitchFamily="34" charset="0"/>
              </a:rPr>
              <a:t>Utilização do Laboratório da </a:t>
            </a:r>
            <a:r>
              <a:rPr lang="pt-BR" sz="1400" dirty="0" err="1">
                <a:latin typeface="Arial" panose="020B0604020202020204" pitchFamily="34" charset="0"/>
              </a:rPr>
              <a:t>Hydac</a:t>
            </a:r>
            <a:r>
              <a:rPr lang="pt-BR" sz="1400" dirty="0">
                <a:latin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543897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E8B512B-0BB7-285E-7259-C5F7D5A30B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E8B512B-0BB7-285E-7259-C5F7D5A30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7A489-C07F-DF3C-F0D9-54184C723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.</a:t>
            </a:r>
            <a:br>
              <a:rPr lang="de-DE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7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is os serviços?</a:t>
            </a:r>
            <a:endParaRPr lang="de-DE" sz="17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2F952EF-B5F1-C929-6F60-EA773725FD9C}"/>
              </a:ext>
            </a:extLst>
          </p:cNvPr>
          <p:cNvSpPr txBox="1">
            <a:spLocks/>
          </p:cNvSpPr>
          <p:nvPr/>
        </p:nvSpPr>
        <p:spPr>
          <a:xfrm>
            <a:off x="576262" y="1058864"/>
            <a:ext cx="2712947" cy="3384546"/>
          </a:xfrm>
          <a:prstGeom prst="rect">
            <a:avLst/>
          </a:prstGeom>
        </p:spPr>
        <p:txBody>
          <a:bodyPr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ÇOS</a:t>
            </a:r>
          </a:p>
          <a:p>
            <a:pPr marL="0" indent="0" defTabSz="457200">
              <a:buFont typeface="Wingdings" panose="05000000000000000000" pitchFamily="2" charset="2"/>
              <a:buNone/>
            </a:pPr>
            <a:endParaRPr lang="de-DE" sz="1200" b="1" dirty="0">
              <a:solidFill>
                <a:srgbClr val="E2001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/>
              <a:t>Laboratório Hydac</a:t>
            </a:r>
          </a:p>
          <a:p>
            <a:r>
              <a:rPr lang="de-DE" dirty="0"/>
              <a:t>CMH - Central de Monitoramento Hydac</a:t>
            </a:r>
          </a:p>
          <a:p>
            <a:r>
              <a:rPr lang="de-DE" dirty="0"/>
              <a:t>Equipe Técnica Hydac</a:t>
            </a:r>
          </a:p>
          <a:p>
            <a:r>
              <a:rPr lang="de-DE" dirty="0"/>
              <a:t>Aluguel de equipamentos</a:t>
            </a:r>
          </a:p>
          <a:p>
            <a:r>
              <a:rPr lang="de-DE" dirty="0"/>
              <a:t>Treinamentos Hidraulica</a:t>
            </a:r>
          </a:p>
          <a:p>
            <a:r>
              <a:rPr lang="de-DE" dirty="0"/>
              <a:t>Reforma Trocadores Calor</a:t>
            </a:r>
          </a:p>
          <a:p>
            <a:r>
              <a:rPr lang="de-DE" dirty="0"/>
              <a:t>Reforma Acumuladores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DC6C573C-2C7F-D412-562B-C6A89E9E9C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3478" y="3539074"/>
            <a:ext cx="1529607" cy="1019738"/>
          </a:xfrm>
          <a:prstGeom prst="rect">
            <a:avLst/>
          </a:prstGeom>
        </p:spPr>
      </p:pic>
      <p:pic>
        <p:nvPicPr>
          <p:cNvPr id="9" name="Espaço Reservado para Imagem 21" descr="Grupo de homens em pé&#10;&#10;Descrição gerada automaticamente com confiança média">
            <a:extLst>
              <a:ext uri="{FF2B5EF4-FFF2-40B4-BE49-F238E27FC236}">
                <a16:creationId xmlns:a16="http://schemas.microsoft.com/office/drawing/2014/main" id="{2B08BBB8-3EE6-7CCF-7B4A-F4F5308359B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1" t="15137" r="-41" b="45743"/>
          <a:stretch/>
        </p:blipFill>
        <p:spPr>
          <a:xfrm>
            <a:off x="6263478" y="1188214"/>
            <a:ext cx="2719198" cy="1512886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BFCBDA60-D21A-E5F7-80DE-57F85BBDE2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53069" y="2787224"/>
            <a:ext cx="1529607" cy="958698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076495AA-A932-53E8-5907-580DCCE660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74057" y="2787224"/>
            <a:ext cx="1398278" cy="1118622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E063450D-68FC-6833-B60D-9887DEA6181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80122" y="3206706"/>
            <a:ext cx="1398279" cy="1398279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0CD2FD51-C2A7-7118-585B-8A2B0B95467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41295" y="1429136"/>
            <a:ext cx="2131039" cy="127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3724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6">
            <a:extLst>
              <a:ext uri="{FF2B5EF4-FFF2-40B4-BE49-F238E27FC236}">
                <a16:creationId xmlns:a16="http://schemas.microsoft.com/office/drawing/2014/main" id="{CF67BDF4-CC19-89A5-A2C9-0FB23C9D1BA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390" b="390"/>
          <a:stretch>
            <a:fillRect/>
          </a:stretch>
        </p:blipFill>
        <p:spPr>
          <a:xfrm>
            <a:off x="5184775" y="1068388"/>
            <a:ext cx="3959225" cy="360045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D13CFDF-D359-491C-9831-1059EED7EF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11980" y="2064937"/>
            <a:ext cx="6155757" cy="492443"/>
          </a:xfrm>
        </p:spPr>
        <p:txBody>
          <a:bodyPr/>
          <a:lstStyle/>
          <a:p>
            <a:r>
              <a:rPr lang="de-DE" dirty="0"/>
              <a:t>Obrigado</a:t>
            </a:r>
            <a:br>
              <a:rPr lang="de-DE" dirty="0"/>
            </a:br>
            <a:r>
              <a:rPr lang="de-DE" dirty="0"/>
              <a:t>Thank you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F8A828D-C56D-689A-2D9B-78BDC26E8C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Contato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0CCA7A-CAE8-40F8-8150-7234AFC100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Marcel Magre</a:t>
            </a:r>
            <a:br>
              <a:rPr lang="de-DE" dirty="0"/>
            </a:br>
            <a:r>
              <a:rPr lang="de-DE" b="0" dirty="0"/>
              <a:t>Service – Automação </a:t>
            </a:r>
          </a:p>
          <a:p>
            <a:r>
              <a:rPr lang="de-DE" b="0" dirty="0"/>
              <a:t>tel: 	+55 11 4393-6600</a:t>
            </a:r>
            <a:br>
              <a:rPr lang="de-DE" b="0" dirty="0"/>
            </a:br>
            <a:r>
              <a:rPr lang="de-DE" b="0" dirty="0"/>
              <a:t>celular: 	+55 19 99912-2668</a:t>
            </a:r>
            <a:br>
              <a:rPr lang="de-DE" b="0" dirty="0"/>
            </a:br>
            <a:r>
              <a:rPr lang="de-DE" b="0" dirty="0"/>
              <a:t>e-mail: 	marcel.magre@hydac.com</a:t>
            </a:r>
          </a:p>
          <a:p>
            <a:pPr lvl="1"/>
            <a:r>
              <a:rPr lang="de-DE" dirty="0"/>
              <a:t>www.hydac.com.br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7641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E8B512B-0BB7-285E-7259-C5F7D5A30B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06" imgH="306" progId="TCLayout.ActiveDocument.1">
                  <p:embed/>
                </p:oleObj>
              </mc:Choice>
              <mc:Fallback>
                <p:oleObj name="think-cell Folie" r:id="rId11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E8B512B-0BB7-285E-7259-C5F7D5A30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hteck 34">
            <a:extLst>
              <a:ext uri="{FF2B5EF4-FFF2-40B4-BE49-F238E27FC236}">
                <a16:creationId xmlns:a16="http://schemas.microsoft.com/office/drawing/2014/main" id="{0C62D9EF-176C-9486-E452-76F1D08742CD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3090569" y="4459629"/>
            <a:ext cx="242312" cy="215389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r>
              <a:rPr lang="de-DE" sz="8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7" name="Rechteck 35">
            <a:extLst>
              <a:ext uri="{FF2B5EF4-FFF2-40B4-BE49-F238E27FC236}">
                <a16:creationId xmlns:a16="http://schemas.microsoft.com/office/drawing/2014/main" id="{708A5A7C-A446-DE2E-B567-4A1F680A81BC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5069396" y="4459885"/>
            <a:ext cx="242312" cy="215389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r>
              <a:rPr lang="de-DE" sz="8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58" name="Rechteck 39">
            <a:extLst>
              <a:ext uri="{FF2B5EF4-FFF2-40B4-BE49-F238E27FC236}">
                <a16:creationId xmlns:a16="http://schemas.microsoft.com/office/drawing/2014/main" id="{D428D89B-E18B-2C60-B696-93ABBF35C37B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028371" y="1189222"/>
            <a:ext cx="1835528" cy="1306427"/>
          </a:xfrm>
          <a:prstGeom prst="rect">
            <a:avLst/>
          </a:prstGeom>
          <a:solidFill>
            <a:srgbClr val="5A7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r>
              <a:rPr lang="de-DE" sz="1100" b="1" dirty="0">
                <a:latin typeface="Bosch Office Sans" pitchFamily="34" charset="0"/>
              </a:rPr>
              <a:t>SBC (SP) </a:t>
            </a:r>
          </a:p>
          <a:p>
            <a:pPr algn="ctr"/>
            <a:endParaRPr lang="de-DE" sz="1100" dirty="0">
              <a:latin typeface="Bosch Office Sans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>
                <a:latin typeface="Bosch Office Sans" pitchFamily="34" charset="0"/>
              </a:rPr>
              <a:t>Blocos manifol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>
                <a:latin typeface="Bosch Office Sans" pitchFamily="34" charset="0"/>
              </a:rPr>
              <a:t>Unidades hidráulic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>
                <a:latin typeface="Bosch Office Sans" pitchFamily="34" charset="0"/>
              </a:rPr>
              <a:t>Cilindro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>
                <a:latin typeface="Bosch Office Sans" pitchFamily="34" charset="0"/>
              </a:rPr>
              <a:t>Service</a:t>
            </a:r>
          </a:p>
          <a:p>
            <a:r>
              <a:rPr lang="de-DE" sz="1100" dirty="0">
                <a:latin typeface="Bosch Office Sans" pitchFamily="34" charset="0"/>
              </a:rPr>
              <a:t>        </a:t>
            </a:r>
          </a:p>
        </p:txBody>
      </p:sp>
      <p:sp>
        <p:nvSpPr>
          <p:cNvPr id="59" name="Rechteck 45">
            <a:extLst>
              <a:ext uri="{FF2B5EF4-FFF2-40B4-BE49-F238E27FC236}">
                <a16:creationId xmlns:a16="http://schemas.microsoft.com/office/drawing/2014/main" id="{4C3E9546-BEB2-ADC4-34AA-943CAA4DD4C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3090569" y="4446732"/>
            <a:ext cx="242312" cy="215389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r>
              <a:rPr lang="de-DE" sz="8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60" name="Rechteck 47">
            <a:extLst>
              <a:ext uri="{FF2B5EF4-FFF2-40B4-BE49-F238E27FC236}">
                <a16:creationId xmlns:a16="http://schemas.microsoft.com/office/drawing/2014/main" id="{ECD0795C-063B-696C-7C7C-09CDB2C969D9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4080915" y="4446732"/>
            <a:ext cx="242312" cy="215389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r>
              <a:rPr lang="de-DE" sz="800" dirty="0">
                <a:solidFill>
                  <a:srgbClr val="FFFFFF"/>
                </a:solidFill>
              </a:rPr>
              <a:t>2</a:t>
            </a:r>
          </a:p>
        </p:txBody>
      </p:sp>
      <p:grpSp>
        <p:nvGrpSpPr>
          <p:cNvPr id="61" name="Agrupar 60">
            <a:extLst>
              <a:ext uri="{FF2B5EF4-FFF2-40B4-BE49-F238E27FC236}">
                <a16:creationId xmlns:a16="http://schemas.microsoft.com/office/drawing/2014/main" id="{7B29A3C1-45A3-192D-1345-9F5AD2F2C5C6}"/>
              </a:ext>
            </a:extLst>
          </p:cNvPr>
          <p:cNvGrpSpPr/>
          <p:nvPr/>
        </p:nvGrpSpPr>
        <p:grpSpPr>
          <a:xfrm>
            <a:off x="2843043" y="972548"/>
            <a:ext cx="3805397" cy="1733984"/>
            <a:chOff x="689975" y="1123515"/>
            <a:chExt cx="3805397" cy="1733984"/>
          </a:xfrm>
        </p:grpSpPr>
        <p:pic>
          <p:nvPicPr>
            <p:cNvPr id="62" name="Picture 5" descr="G:\B MARKETING\Fotos\Fotos Hydac Baixa Resolução\AEREA   0004 desfoque   bx resol (5).jpg">
              <a:extLst>
                <a:ext uri="{FF2B5EF4-FFF2-40B4-BE49-F238E27FC236}">
                  <a16:creationId xmlns:a16="http://schemas.microsoft.com/office/drawing/2014/main" id="{E0D7144A-3C68-17D1-20E0-12A6EC4197E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1089"/>
            <a:stretch/>
          </p:blipFill>
          <p:spPr bwMode="auto">
            <a:xfrm>
              <a:off x="689975" y="1129307"/>
              <a:ext cx="3805397" cy="1728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3" name="Agrupar 62">
              <a:extLst>
                <a:ext uri="{FF2B5EF4-FFF2-40B4-BE49-F238E27FC236}">
                  <a16:creationId xmlns:a16="http://schemas.microsoft.com/office/drawing/2014/main" id="{AD1AFDD4-0EFF-948F-E7A3-47C3B54F86AA}"/>
                </a:ext>
              </a:extLst>
            </p:cNvPr>
            <p:cNvGrpSpPr/>
            <p:nvPr/>
          </p:nvGrpSpPr>
          <p:grpSpPr>
            <a:xfrm>
              <a:off x="689975" y="1123515"/>
              <a:ext cx="990345" cy="325841"/>
              <a:chOff x="887538" y="1199191"/>
              <a:chExt cx="990345" cy="325841"/>
            </a:xfrm>
          </p:grpSpPr>
          <p:sp>
            <p:nvSpPr>
              <p:cNvPr id="64" name="Rechteck 49">
                <a:extLst>
                  <a:ext uri="{FF2B5EF4-FFF2-40B4-BE49-F238E27FC236}">
                    <a16:creationId xmlns:a16="http://schemas.microsoft.com/office/drawing/2014/main" id="{38179A9A-B58E-40A0-33D9-1EDDCD243800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>
              <a:xfrm>
                <a:off x="887538" y="1199191"/>
                <a:ext cx="990345" cy="325841"/>
              </a:xfrm>
              <a:prstGeom prst="rect">
                <a:avLst/>
              </a:prstGeom>
              <a:solidFill>
                <a:srgbClr val="CFDDE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buNone/>
                  <a:defRPr lang="de-DE" sz="1800" b="0" i="0" u="none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     </a:t>
                </a:r>
                <a:r>
                  <a:rPr lang="de-DE" sz="1400" b="1" dirty="0">
                    <a:solidFill>
                      <a:schemeClr val="tx1"/>
                    </a:solidFill>
                  </a:rPr>
                  <a:t>| SBC</a:t>
                </a:r>
              </a:p>
            </p:txBody>
          </p:sp>
          <p:sp>
            <p:nvSpPr>
              <p:cNvPr id="65" name="Elipse 64">
                <a:extLst>
                  <a:ext uri="{FF2B5EF4-FFF2-40B4-BE49-F238E27FC236}">
                    <a16:creationId xmlns:a16="http://schemas.microsoft.com/office/drawing/2014/main" id="{F3B22DA9-49C7-2AF4-E82D-E01488DAF599}"/>
                  </a:ext>
                </a:extLst>
              </p:cNvPr>
              <p:cNvSpPr/>
              <p:nvPr/>
            </p:nvSpPr>
            <p:spPr>
              <a:xfrm>
                <a:off x="957929" y="1230344"/>
                <a:ext cx="275978" cy="263534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dirty="0"/>
                  <a:t>1</a:t>
                </a:r>
              </a:p>
            </p:txBody>
          </p:sp>
        </p:grpSp>
      </p:grpSp>
      <p:grpSp>
        <p:nvGrpSpPr>
          <p:cNvPr id="66" name="Agrupar 65">
            <a:extLst>
              <a:ext uri="{FF2B5EF4-FFF2-40B4-BE49-F238E27FC236}">
                <a16:creationId xmlns:a16="http://schemas.microsoft.com/office/drawing/2014/main" id="{C86657A1-1F2A-664F-8264-F592FE5E51B8}"/>
              </a:ext>
            </a:extLst>
          </p:cNvPr>
          <p:cNvGrpSpPr/>
          <p:nvPr/>
        </p:nvGrpSpPr>
        <p:grpSpPr>
          <a:xfrm>
            <a:off x="2874112" y="2840027"/>
            <a:ext cx="3811634" cy="1733985"/>
            <a:chOff x="4565763" y="1123515"/>
            <a:chExt cx="3811634" cy="1733985"/>
          </a:xfrm>
        </p:grpSpPr>
        <p:pic>
          <p:nvPicPr>
            <p:cNvPr id="67" name="Imagem 66">
              <a:extLst>
                <a:ext uri="{FF2B5EF4-FFF2-40B4-BE49-F238E27FC236}">
                  <a16:creationId xmlns:a16="http://schemas.microsoft.com/office/drawing/2014/main" id="{4A802F62-8B29-6885-EC34-4DD632D4A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572000" y="1129308"/>
              <a:ext cx="3805397" cy="1728192"/>
            </a:xfrm>
            <a:prstGeom prst="rect">
              <a:avLst/>
            </a:prstGeom>
          </p:spPr>
        </p:pic>
        <p:grpSp>
          <p:nvGrpSpPr>
            <p:cNvPr id="68" name="Agrupar 67">
              <a:extLst>
                <a:ext uri="{FF2B5EF4-FFF2-40B4-BE49-F238E27FC236}">
                  <a16:creationId xmlns:a16="http://schemas.microsoft.com/office/drawing/2014/main" id="{12E3CB60-64FA-B370-7FF3-3F83BF2AF78C}"/>
                </a:ext>
              </a:extLst>
            </p:cNvPr>
            <p:cNvGrpSpPr/>
            <p:nvPr/>
          </p:nvGrpSpPr>
          <p:grpSpPr>
            <a:xfrm>
              <a:off x="4565763" y="1123515"/>
              <a:ext cx="1043838" cy="325841"/>
              <a:chOff x="887538" y="1199191"/>
              <a:chExt cx="1043838" cy="325841"/>
            </a:xfrm>
          </p:grpSpPr>
          <p:sp>
            <p:nvSpPr>
              <p:cNvPr id="69" name="Rechteck 49">
                <a:extLst>
                  <a:ext uri="{FF2B5EF4-FFF2-40B4-BE49-F238E27FC236}">
                    <a16:creationId xmlns:a16="http://schemas.microsoft.com/office/drawing/2014/main" id="{B835D3AF-D237-3F74-977D-5CB62FE7589B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>
              <a:xfrm>
                <a:off x="887538" y="1199191"/>
                <a:ext cx="1043838" cy="325841"/>
              </a:xfrm>
              <a:prstGeom prst="rect">
                <a:avLst/>
              </a:prstGeom>
              <a:solidFill>
                <a:srgbClr val="CFDDE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buNone/>
                  <a:defRPr lang="de-DE" sz="1800" b="0" i="0" u="none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de-DE" sz="1200" dirty="0">
                    <a:solidFill>
                      <a:schemeClr val="tx1"/>
                    </a:solidFill>
                  </a:rPr>
                  <a:t>       </a:t>
                </a:r>
                <a:r>
                  <a:rPr lang="de-DE" sz="1400" b="1" dirty="0">
                    <a:solidFill>
                      <a:schemeClr val="tx1"/>
                    </a:solidFill>
                  </a:rPr>
                  <a:t>| INDA</a:t>
                </a:r>
              </a:p>
            </p:txBody>
          </p:sp>
          <p:sp>
            <p:nvSpPr>
              <p:cNvPr id="70" name="Elipse 69">
                <a:extLst>
                  <a:ext uri="{FF2B5EF4-FFF2-40B4-BE49-F238E27FC236}">
                    <a16:creationId xmlns:a16="http://schemas.microsoft.com/office/drawing/2014/main" id="{581A988A-C336-3248-9011-BAC6C42B758C}"/>
                  </a:ext>
                </a:extLst>
              </p:cNvPr>
              <p:cNvSpPr/>
              <p:nvPr/>
            </p:nvSpPr>
            <p:spPr>
              <a:xfrm>
                <a:off x="957929" y="1230344"/>
                <a:ext cx="275978" cy="263534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2">
                      <a:lumMod val="67000"/>
                    </a:schemeClr>
                  </a:gs>
                  <a:gs pos="48000">
                    <a:schemeClr val="accent2">
                      <a:lumMod val="97000"/>
                      <a:lumOff val="3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dirty="0"/>
                  <a:t>2</a:t>
                </a:r>
              </a:p>
            </p:txBody>
          </p:sp>
        </p:grpSp>
      </p:grpSp>
      <p:sp>
        <p:nvSpPr>
          <p:cNvPr id="77" name="Rechteck 39">
            <a:extLst>
              <a:ext uri="{FF2B5EF4-FFF2-40B4-BE49-F238E27FC236}">
                <a16:creationId xmlns:a16="http://schemas.microsoft.com/office/drawing/2014/main" id="{4BA3162D-66EB-D9BF-9DEF-CA4BCFD5BC4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7027228" y="2980842"/>
            <a:ext cx="1835528" cy="1458148"/>
          </a:xfrm>
          <a:prstGeom prst="rect">
            <a:avLst/>
          </a:prstGeom>
          <a:solidFill>
            <a:srgbClr val="5A7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Autofit/>
          </a:bodyPr>
          <a:lstStyle/>
          <a:p>
            <a:pPr algn="ctr"/>
            <a:r>
              <a:rPr lang="de-DE" sz="1100" dirty="0">
                <a:latin typeface="Bosch Office Sans" pitchFamily="34" charset="0"/>
              </a:rPr>
              <a:t> </a:t>
            </a:r>
            <a:r>
              <a:rPr lang="de-DE" sz="1100" b="1" dirty="0">
                <a:latin typeface="Bosch Office Sans" pitchFamily="34" charset="0"/>
              </a:rPr>
              <a:t>Indaiatuba (SP)</a:t>
            </a:r>
          </a:p>
          <a:p>
            <a:pPr algn="ctr"/>
            <a:r>
              <a:rPr lang="de-DE" sz="1100" b="1" dirty="0">
                <a:latin typeface="Bosch Office Sans" pitchFamily="34" charset="0"/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>
                <a:latin typeface="Bosch Office Sans" pitchFamily="34" charset="0"/>
              </a:rPr>
              <a:t>Filtro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>
                <a:latin typeface="Bosch Office Sans" pitchFamily="34" charset="0"/>
              </a:rPr>
              <a:t>Sistema de filtrag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>
                <a:latin typeface="Bosch Office Sans" pitchFamily="34" charset="0"/>
              </a:rPr>
              <a:t>Acumulado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>
                <a:latin typeface="Bosch Office Sans" pitchFamily="34" charset="0"/>
              </a:rPr>
              <a:t>Trocadores de calo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>
                <a:latin typeface="Bosch Office Sans" pitchFamily="34" charset="0"/>
              </a:rPr>
              <a:t>Centro de treinamen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>
                <a:latin typeface="Bosch Office Sans" pitchFamily="34" charset="0"/>
              </a:rPr>
              <a:t>Laboratório</a:t>
            </a:r>
            <a:br>
              <a:rPr lang="de-DE" sz="1100" dirty="0">
                <a:latin typeface="Bosch Office Sans" pitchFamily="34" charset="0"/>
              </a:rPr>
            </a:br>
            <a:endParaRPr lang="de-DE" sz="1100" dirty="0">
              <a:latin typeface="Bosch Office Sans" pitchFamily="34" charset="0"/>
            </a:endParaRPr>
          </a:p>
          <a:p>
            <a:r>
              <a:rPr lang="de-DE" sz="1100" dirty="0">
                <a:latin typeface="Bosch Office Sans" pitchFamily="34" charset="0"/>
              </a:rPr>
              <a:t>        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762683D-CAAF-DC6E-72C7-D3B6921EA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50825"/>
            <a:ext cx="7994381" cy="470898"/>
          </a:xfrm>
        </p:spPr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.</a:t>
            </a:r>
            <a:br>
              <a:rPr lang="de-DE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ac</a:t>
            </a:r>
            <a:r>
              <a:rPr lang="pt-BR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Estrutura</a:t>
            </a:r>
            <a:endParaRPr lang="de-DE" sz="17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m 6" descr="Desenho com traços pretos em fundo branco&#10;&#10;Descrição gerada automaticamente">
            <a:extLst>
              <a:ext uri="{FF2B5EF4-FFF2-40B4-BE49-F238E27FC236}">
                <a16:creationId xmlns:a16="http://schemas.microsoft.com/office/drawing/2014/main" id="{C78F875C-B9E4-9C9F-7E74-8E508FD46214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50" y="3968092"/>
            <a:ext cx="2015644" cy="470898"/>
          </a:xfrm>
          <a:prstGeom prst="rect">
            <a:avLst/>
          </a:prstGeom>
        </p:spPr>
      </p:pic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45F11F80-8A0B-EE9A-E907-008609ECB7A4}"/>
              </a:ext>
            </a:extLst>
          </p:cNvPr>
          <p:cNvSpPr txBox="1">
            <a:spLocks/>
          </p:cNvSpPr>
          <p:nvPr/>
        </p:nvSpPr>
        <p:spPr>
          <a:xfrm>
            <a:off x="576262" y="1058864"/>
            <a:ext cx="2366723" cy="3384546"/>
          </a:xfrm>
          <a:prstGeom prst="rect">
            <a:avLst/>
          </a:prstGeom>
        </p:spPr>
        <p:txBody>
          <a:bodyPr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utura</a:t>
            </a:r>
          </a:p>
          <a:p>
            <a:pPr marL="0" indent="0" defTabSz="457200">
              <a:buFont typeface="Wingdings" panose="05000000000000000000" pitchFamily="2" charset="2"/>
              <a:buNone/>
            </a:pPr>
            <a:endParaRPr lang="de-DE" sz="1200" b="1" dirty="0">
              <a:solidFill>
                <a:srgbClr val="E2001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dirty="0"/>
              <a:t>Empresa Alemã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dirty="0"/>
              <a:t>300 funcionário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dirty="0"/>
              <a:t>4 filiais (SP, RJ, SUL, MG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dirty="0"/>
              <a:t>38 Distribuidores (Brasil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dirty="0"/>
              <a:t>Fatruamento: R$ 300 MI</a:t>
            </a:r>
          </a:p>
        </p:txBody>
      </p:sp>
    </p:spTree>
    <p:extLst>
      <p:ext uri="{BB962C8B-B14F-4D97-AF65-F5344CB8AC3E}">
        <p14:creationId xmlns:p14="http://schemas.microsoft.com/office/powerpoint/2010/main" val="760784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7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6025F75-1CE7-491F-AE8D-379FCD0FAD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6025F75-1CE7-491F-AE8D-379FCD0FA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EBEF64-404A-8C04-BD31-5B5825601EB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pt-BR" dirty="0">
                <a:solidFill>
                  <a:srgbClr val="5459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 é a nossa solução?
</a:t>
            </a:r>
            <a:endParaRPr lang="de-DE" dirty="0">
              <a:solidFill>
                <a:srgbClr val="A0A3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5D88D4E-7AD8-5EFF-3D73-7F9D4ACC85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sz="40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700349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3E2098-4704-A51D-A68B-29B5FDF5C6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BKP_YAMASAKY\ENERGIA\ZÉ CARLOS\FOTOS\2015.07.28 - PCH SALTO CURUCACA\DSC06581.JPG">
            <a:extLst>
              <a:ext uri="{FF2B5EF4-FFF2-40B4-BE49-F238E27FC236}">
                <a16:creationId xmlns:a16="http://schemas.microsoft.com/office/drawing/2014/main" id="{1A4FDD5B-0C6A-1970-4CAB-80EBAEFDDA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2" t="4616" r="28121" b="4778"/>
          <a:stretch/>
        </p:blipFill>
        <p:spPr bwMode="auto">
          <a:xfrm>
            <a:off x="3536780" y="1614516"/>
            <a:ext cx="2489399" cy="275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llipse 17">
            <a:extLst>
              <a:ext uri="{FF2B5EF4-FFF2-40B4-BE49-F238E27FC236}">
                <a16:creationId xmlns:a16="http://schemas.microsoft.com/office/drawing/2014/main" id="{992EA2F3-4C6F-F84C-36EF-253D9FFEFE81}"/>
              </a:ext>
            </a:extLst>
          </p:cNvPr>
          <p:cNvSpPr/>
          <p:nvPr/>
        </p:nvSpPr>
        <p:spPr>
          <a:xfrm>
            <a:off x="863876" y="1917844"/>
            <a:ext cx="1938337" cy="653623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en-GB" sz="1800" b="0" i="0" u="none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400" dirty="0">
                <a:solidFill>
                  <a:schemeClr val="bg1"/>
                </a:solidFill>
              </a:rPr>
              <a:t>Bom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DC168990-3B2B-D24F-C768-BA8C9BB8A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50825"/>
            <a:ext cx="7994381" cy="470898"/>
          </a:xfrm>
        </p:spPr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</a:t>
            </a:r>
            <a:b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quê</a:t>
            </a:r>
            <a:r>
              <a:rPr lang="en-US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SFC?</a:t>
            </a:r>
            <a:endParaRPr lang="de-DE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591F9D2B-A875-C2A4-ABB0-F300D6DBE0DF}"/>
              </a:ext>
            </a:extLst>
          </p:cNvPr>
          <p:cNvSpPr txBox="1"/>
          <p:nvPr/>
        </p:nvSpPr>
        <p:spPr>
          <a:xfrm>
            <a:off x="257120" y="1202198"/>
            <a:ext cx="4603824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/>
            <a:r>
              <a:rPr lang="pt-BR" dirty="0"/>
              <a:t>Qual o estado de saúde deste equipamento?</a:t>
            </a:r>
          </a:p>
        </p:txBody>
      </p:sp>
      <p:sp>
        <p:nvSpPr>
          <p:cNvPr id="9" name="Ellipse 17">
            <a:extLst>
              <a:ext uri="{FF2B5EF4-FFF2-40B4-BE49-F238E27FC236}">
                <a16:creationId xmlns:a16="http://schemas.microsoft.com/office/drawing/2014/main" id="{65B46B5E-24F2-D485-1B0C-C8A0DD564F61}"/>
              </a:ext>
            </a:extLst>
          </p:cNvPr>
          <p:cNvSpPr/>
          <p:nvPr/>
        </p:nvSpPr>
        <p:spPr>
          <a:xfrm>
            <a:off x="3324155" y="2139350"/>
            <a:ext cx="2914650" cy="116366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en-GB" sz="1800" b="0" i="0" u="none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800" dirty="0" err="1">
                <a:solidFill>
                  <a:schemeClr val="bg1"/>
                </a:solidFill>
              </a:rPr>
              <a:t>Informação</a:t>
            </a:r>
            <a:endParaRPr lang="en-GB" sz="2800" dirty="0">
              <a:solidFill>
                <a:schemeClr val="bg1"/>
              </a:solidFill>
            </a:endParaRPr>
          </a:p>
        </p:txBody>
      </p:sp>
      <p:sp>
        <p:nvSpPr>
          <p:cNvPr id="2" name="Seta: para a Direita 1">
            <a:extLst>
              <a:ext uri="{FF2B5EF4-FFF2-40B4-BE49-F238E27FC236}">
                <a16:creationId xmlns:a16="http://schemas.microsoft.com/office/drawing/2014/main" id="{546A209D-E947-0C29-6697-D183418D5A21}"/>
              </a:ext>
            </a:extLst>
          </p:cNvPr>
          <p:cNvSpPr/>
          <p:nvPr/>
        </p:nvSpPr>
        <p:spPr>
          <a:xfrm rot="1492574">
            <a:off x="2860447" y="2386057"/>
            <a:ext cx="337457" cy="276999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ctr"/>
            <a:endParaRPr lang="pt-BR" sz="1000" dirty="0" err="1"/>
          </a:p>
        </p:txBody>
      </p:sp>
      <p:sp>
        <p:nvSpPr>
          <p:cNvPr id="4" name="Ellipse 17">
            <a:extLst>
              <a:ext uri="{FF2B5EF4-FFF2-40B4-BE49-F238E27FC236}">
                <a16:creationId xmlns:a16="http://schemas.microsoft.com/office/drawing/2014/main" id="{D640DE6B-6C95-2243-15A3-0F2931D2AF89}"/>
              </a:ext>
            </a:extLst>
          </p:cNvPr>
          <p:cNvSpPr/>
          <p:nvPr/>
        </p:nvSpPr>
        <p:spPr>
          <a:xfrm>
            <a:off x="881484" y="3139491"/>
            <a:ext cx="1938337" cy="653623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en-GB" sz="1800" b="0" i="0" u="none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400" dirty="0" err="1">
                <a:solidFill>
                  <a:schemeClr val="bg1"/>
                </a:solidFill>
              </a:rPr>
              <a:t>Ruim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0" name="Seta: para a Direita 9">
            <a:extLst>
              <a:ext uri="{FF2B5EF4-FFF2-40B4-BE49-F238E27FC236}">
                <a16:creationId xmlns:a16="http://schemas.microsoft.com/office/drawing/2014/main" id="{23752037-91D8-C2FC-F1DD-F504857402F6}"/>
              </a:ext>
            </a:extLst>
          </p:cNvPr>
          <p:cNvSpPr/>
          <p:nvPr/>
        </p:nvSpPr>
        <p:spPr>
          <a:xfrm rot="19699414">
            <a:off x="2850873" y="3095902"/>
            <a:ext cx="337457" cy="276999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ctr"/>
            <a:endParaRPr lang="pt-BR" sz="1000" dirty="0" err="1"/>
          </a:p>
        </p:txBody>
      </p:sp>
      <p:sp>
        <p:nvSpPr>
          <p:cNvPr id="12" name="Seta: para a Direita 11">
            <a:extLst>
              <a:ext uri="{FF2B5EF4-FFF2-40B4-BE49-F238E27FC236}">
                <a16:creationId xmlns:a16="http://schemas.microsoft.com/office/drawing/2014/main" id="{E4C9B73C-43EC-EC34-BB16-E313B269B233}"/>
              </a:ext>
            </a:extLst>
          </p:cNvPr>
          <p:cNvSpPr/>
          <p:nvPr/>
        </p:nvSpPr>
        <p:spPr>
          <a:xfrm>
            <a:off x="6499023" y="2582684"/>
            <a:ext cx="337457" cy="276999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ctr"/>
            <a:endParaRPr lang="pt-BR" sz="1000" dirty="0" err="1"/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id="{A62D367D-7549-D0CC-0CA0-AAE13CEFDB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6021" y="1328277"/>
            <a:ext cx="1917565" cy="2785809"/>
          </a:xfrm>
          <a:prstGeom prst="rect">
            <a:avLst/>
          </a:prstGeom>
        </p:spPr>
      </p:pic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330E94F8-FDEF-68E3-4FE7-1E906889B419}"/>
              </a:ext>
            </a:extLst>
          </p:cNvPr>
          <p:cNvSpPr txBox="1">
            <a:spLocks/>
          </p:cNvSpPr>
          <p:nvPr/>
        </p:nvSpPr>
        <p:spPr>
          <a:xfrm>
            <a:off x="6567411" y="3937952"/>
            <a:ext cx="2574783" cy="470897"/>
          </a:xfrm>
          <a:prstGeom prst="rect">
            <a:avLst/>
          </a:prstGeom>
        </p:spPr>
        <p:txBody>
          <a:bodyPr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nte informação resolve o seu problema?</a:t>
            </a:r>
          </a:p>
        </p:txBody>
      </p:sp>
    </p:spTree>
    <p:extLst>
      <p:ext uri="{BB962C8B-B14F-4D97-AF65-F5344CB8AC3E}">
        <p14:creationId xmlns:p14="http://schemas.microsoft.com/office/powerpoint/2010/main" val="13590023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9" grpId="0" animBg="1"/>
      <p:bldP spid="2" grpId="0" animBg="1"/>
      <p:bldP spid="4" grpId="0" animBg="1"/>
      <p:bldP spid="10" grpId="0" animBg="1"/>
      <p:bldP spid="12" grpId="0" animBg="1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BKP_YAMASAKY\ENERGIA\ZÉ CARLOS\FOTOS\2015.07.28 - PCH SALTO CURUCACA\DSC06581.JPG">
            <a:extLst>
              <a:ext uri="{FF2B5EF4-FFF2-40B4-BE49-F238E27FC236}">
                <a16:creationId xmlns:a16="http://schemas.microsoft.com/office/drawing/2014/main" id="{F64EBC81-AA71-7620-1ACD-A91297BA24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2" t="4616" r="28121" b="4778"/>
          <a:stretch/>
        </p:blipFill>
        <p:spPr bwMode="auto">
          <a:xfrm>
            <a:off x="501588" y="1745144"/>
            <a:ext cx="2489399" cy="275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C27CBF56-5DE9-ACE6-A3BC-32989F8BC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50825"/>
            <a:ext cx="7994381" cy="470898"/>
          </a:xfrm>
        </p:spPr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</a:t>
            </a:r>
            <a:b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quê</a:t>
            </a:r>
            <a:r>
              <a:rPr lang="en-US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SFC?</a:t>
            </a:r>
            <a:endParaRPr lang="de-DE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EFCBF71A-7714-F9B8-FDB1-1C767AE26FA4}"/>
              </a:ext>
            </a:extLst>
          </p:cNvPr>
          <p:cNvSpPr txBox="1"/>
          <p:nvPr/>
        </p:nvSpPr>
        <p:spPr>
          <a:xfrm>
            <a:off x="841107" y="1248302"/>
            <a:ext cx="4603824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/>
            <a:r>
              <a:rPr lang="pt-BR" dirty="0"/>
              <a:t>Qual o estado de saúde deste equipamento?</a:t>
            </a:r>
          </a:p>
        </p:txBody>
      </p:sp>
      <p:sp>
        <p:nvSpPr>
          <p:cNvPr id="9" name="Ellipse 17">
            <a:extLst>
              <a:ext uri="{FF2B5EF4-FFF2-40B4-BE49-F238E27FC236}">
                <a16:creationId xmlns:a16="http://schemas.microsoft.com/office/drawing/2014/main" id="{FF678DF2-147E-DC7D-7555-FA7C0D2F2AAF}"/>
              </a:ext>
            </a:extLst>
          </p:cNvPr>
          <p:cNvSpPr/>
          <p:nvPr/>
        </p:nvSpPr>
        <p:spPr>
          <a:xfrm>
            <a:off x="288963" y="2269978"/>
            <a:ext cx="2914650" cy="116366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en-GB" sz="1800" b="0" i="0" u="none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800" dirty="0" err="1">
                <a:solidFill>
                  <a:schemeClr val="bg1"/>
                </a:solidFill>
              </a:rPr>
              <a:t>Informação</a:t>
            </a:r>
            <a:endParaRPr lang="en-GB" sz="2800" dirty="0">
              <a:solidFill>
                <a:schemeClr val="bg1"/>
              </a:solidFill>
            </a:endParaRPr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B6E05E57-EE44-40CA-0ABB-6C524E356DD5}"/>
              </a:ext>
            </a:extLst>
          </p:cNvPr>
          <p:cNvGrpSpPr/>
          <p:nvPr/>
        </p:nvGrpSpPr>
        <p:grpSpPr>
          <a:xfrm>
            <a:off x="3457575" y="1816140"/>
            <a:ext cx="2228850" cy="2608768"/>
            <a:chOff x="6076950" y="1516463"/>
            <a:chExt cx="2228850" cy="2608768"/>
          </a:xfrm>
        </p:grpSpPr>
        <p:sp>
          <p:nvSpPr>
            <p:cNvPr id="6" name="Ellipse 17">
              <a:extLst>
                <a:ext uri="{FF2B5EF4-FFF2-40B4-BE49-F238E27FC236}">
                  <a16:creationId xmlns:a16="http://schemas.microsoft.com/office/drawing/2014/main" id="{693D8559-1230-8604-84BE-E0EEAE1497B8}"/>
                </a:ext>
              </a:extLst>
            </p:cNvPr>
            <p:cNvSpPr/>
            <p:nvPr/>
          </p:nvSpPr>
          <p:spPr>
            <a:xfrm>
              <a:off x="6369048" y="2494035"/>
              <a:ext cx="1936752" cy="653623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None/>
                <a:defRPr lang="en-GB" sz="1800" b="0" i="0" u="none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400" dirty="0" err="1">
                  <a:solidFill>
                    <a:schemeClr val="bg1"/>
                  </a:solidFill>
                </a:rPr>
                <a:t>Oportunidade</a:t>
              </a:r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7" name="Ellipse 17">
              <a:extLst>
                <a:ext uri="{FF2B5EF4-FFF2-40B4-BE49-F238E27FC236}">
                  <a16:creationId xmlns:a16="http://schemas.microsoft.com/office/drawing/2014/main" id="{17D16E89-B17F-2FC9-2960-25F4813962C9}"/>
                </a:ext>
              </a:extLst>
            </p:cNvPr>
            <p:cNvSpPr/>
            <p:nvPr/>
          </p:nvSpPr>
          <p:spPr>
            <a:xfrm>
              <a:off x="6399237" y="1516463"/>
              <a:ext cx="1830363" cy="653623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None/>
                <a:defRPr lang="en-GB" sz="1800" b="0" i="0" u="none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400" dirty="0" err="1">
                  <a:solidFill>
                    <a:schemeClr val="bg1"/>
                  </a:solidFill>
                </a:rPr>
                <a:t>Riscos</a:t>
              </a:r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8" name="Ellipse 17">
              <a:extLst>
                <a:ext uri="{FF2B5EF4-FFF2-40B4-BE49-F238E27FC236}">
                  <a16:creationId xmlns:a16="http://schemas.microsoft.com/office/drawing/2014/main" id="{63B7A81F-FAA6-1A29-1D55-2DF7A3C2824A}"/>
                </a:ext>
              </a:extLst>
            </p:cNvPr>
            <p:cNvSpPr/>
            <p:nvPr/>
          </p:nvSpPr>
          <p:spPr>
            <a:xfrm>
              <a:off x="6429428" y="3471607"/>
              <a:ext cx="1800172" cy="653623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buNone/>
                <a:defRPr lang="en-GB" sz="1800" b="0" i="0" u="none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400" dirty="0">
                  <a:solidFill>
                    <a:schemeClr val="bg1"/>
                  </a:solidFill>
                </a:rPr>
                <a:t>Plano de </a:t>
              </a:r>
              <a:r>
                <a:rPr lang="en-GB" sz="1400" dirty="0" err="1">
                  <a:solidFill>
                    <a:schemeClr val="bg1"/>
                  </a:solidFill>
                </a:rPr>
                <a:t>Ação</a:t>
              </a:r>
              <a:endParaRPr lang="en-GB" sz="1400" dirty="0">
                <a:solidFill>
                  <a:schemeClr val="bg1"/>
                </a:solidFill>
              </a:endParaRPr>
            </a:p>
          </p:txBody>
        </p:sp>
        <p:sp>
          <p:nvSpPr>
            <p:cNvPr id="15" name="Chave Esquerda 14">
              <a:extLst>
                <a:ext uri="{FF2B5EF4-FFF2-40B4-BE49-F238E27FC236}">
                  <a16:creationId xmlns:a16="http://schemas.microsoft.com/office/drawing/2014/main" id="{212BA041-A144-269B-D4CD-30757431E81D}"/>
                </a:ext>
              </a:extLst>
            </p:cNvPr>
            <p:cNvSpPr/>
            <p:nvPr/>
          </p:nvSpPr>
          <p:spPr bwMode="gray">
            <a:xfrm>
              <a:off x="6076950" y="1516463"/>
              <a:ext cx="228600" cy="2608768"/>
            </a:xfrm>
            <a:prstGeom prst="leftBrac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2" name="Ellipse 17">
            <a:extLst>
              <a:ext uri="{FF2B5EF4-FFF2-40B4-BE49-F238E27FC236}">
                <a16:creationId xmlns:a16="http://schemas.microsoft.com/office/drawing/2014/main" id="{DA5F57CC-C5FC-2B33-0C0E-4C60483246E0}"/>
              </a:ext>
            </a:extLst>
          </p:cNvPr>
          <p:cNvSpPr/>
          <p:nvPr/>
        </p:nvSpPr>
        <p:spPr>
          <a:xfrm>
            <a:off x="6211430" y="2269978"/>
            <a:ext cx="2914650" cy="116366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en-GB" sz="1800" b="0" i="0" u="none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800" dirty="0" err="1">
                <a:solidFill>
                  <a:schemeClr val="bg1"/>
                </a:solidFill>
              </a:rPr>
              <a:t>Serviço</a:t>
            </a:r>
            <a:endParaRPr lang="en-GB" sz="2800" dirty="0">
              <a:solidFill>
                <a:schemeClr val="bg1"/>
              </a:solidFill>
            </a:endParaRPr>
          </a:p>
        </p:txBody>
      </p:sp>
      <p:sp>
        <p:nvSpPr>
          <p:cNvPr id="13" name="Chave Esquerda 12">
            <a:extLst>
              <a:ext uri="{FF2B5EF4-FFF2-40B4-BE49-F238E27FC236}">
                <a16:creationId xmlns:a16="http://schemas.microsoft.com/office/drawing/2014/main" id="{DFAD8145-3AFC-EA04-B7FC-D40DD1E41C2D}"/>
              </a:ext>
            </a:extLst>
          </p:cNvPr>
          <p:cNvSpPr/>
          <p:nvPr/>
        </p:nvSpPr>
        <p:spPr bwMode="gray">
          <a:xfrm rot="10800000">
            <a:off x="5834628" y="1816139"/>
            <a:ext cx="228600" cy="2608768"/>
          </a:xfrm>
          <a:prstGeom prst="leftBrac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9634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53EA61-99A6-C540-FD0B-534ED7EBDA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871F9FBF-3E2E-B96C-8663-F38AEFCA2F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50825"/>
            <a:ext cx="7994381" cy="470898"/>
          </a:xfrm>
        </p:spPr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</a:t>
            </a:r>
            <a:b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quê</a:t>
            </a:r>
            <a:r>
              <a:rPr lang="en-US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SFC?</a:t>
            </a:r>
            <a:endParaRPr lang="de-DE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113FFB74-D2B6-86B2-9561-4E6DBABB2098}"/>
              </a:ext>
            </a:extLst>
          </p:cNvPr>
          <p:cNvSpPr txBox="1"/>
          <p:nvPr/>
        </p:nvSpPr>
        <p:spPr>
          <a:xfrm>
            <a:off x="841107" y="1148410"/>
            <a:ext cx="4603824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/>
            <a:r>
              <a:rPr lang="pt-BR" dirty="0"/>
              <a:t>Qual o estado de saúde deste equipamento?</a:t>
            </a:r>
          </a:p>
        </p:txBody>
      </p:sp>
      <p:sp>
        <p:nvSpPr>
          <p:cNvPr id="9" name="Ellipse 17">
            <a:extLst>
              <a:ext uri="{FF2B5EF4-FFF2-40B4-BE49-F238E27FC236}">
                <a16:creationId xmlns:a16="http://schemas.microsoft.com/office/drawing/2014/main" id="{727EEE65-3765-668D-824D-978922EB7AAA}"/>
              </a:ext>
            </a:extLst>
          </p:cNvPr>
          <p:cNvSpPr/>
          <p:nvPr/>
        </p:nvSpPr>
        <p:spPr>
          <a:xfrm>
            <a:off x="531724" y="1668304"/>
            <a:ext cx="2914650" cy="116366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en-GB" sz="1800" b="0" i="0" u="none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800" dirty="0" err="1">
                <a:solidFill>
                  <a:schemeClr val="bg1"/>
                </a:solidFill>
              </a:rPr>
              <a:t>Informação</a:t>
            </a:r>
            <a:endParaRPr lang="en-GB" sz="2800" dirty="0">
              <a:solidFill>
                <a:schemeClr val="bg1"/>
              </a:solidFill>
            </a:endParaRPr>
          </a:p>
        </p:txBody>
      </p:sp>
      <p:sp>
        <p:nvSpPr>
          <p:cNvPr id="12" name="Ellipse 17">
            <a:extLst>
              <a:ext uri="{FF2B5EF4-FFF2-40B4-BE49-F238E27FC236}">
                <a16:creationId xmlns:a16="http://schemas.microsoft.com/office/drawing/2014/main" id="{5E610D5C-EF8F-D15A-E0DE-9F0CDF906FF7}"/>
              </a:ext>
            </a:extLst>
          </p:cNvPr>
          <p:cNvSpPr/>
          <p:nvPr/>
        </p:nvSpPr>
        <p:spPr>
          <a:xfrm>
            <a:off x="6049656" y="1668304"/>
            <a:ext cx="2914650" cy="116366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en-GB" sz="1800" b="0" i="0" u="none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800" dirty="0" err="1">
                <a:solidFill>
                  <a:schemeClr val="bg1"/>
                </a:solidFill>
              </a:rPr>
              <a:t>Serviço</a:t>
            </a:r>
            <a:endParaRPr lang="en-GB" sz="2800" dirty="0">
              <a:solidFill>
                <a:schemeClr val="bg1"/>
              </a:solidFill>
            </a:endParaRPr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id="{BDDB8117-7B58-5560-742D-1714118E8C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273" b="42119"/>
          <a:stretch/>
        </p:blipFill>
        <p:spPr>
          <a:xfrm>
            <a:off x="6289734" y="3641790"/>
            <a:ext cx="2434491" cy="307196"/>
          </a:xfrm>
          <a:prstGeom prst="rect">
            <a:avLst/>
          </a:prstGeom>
        </p:spPr>
      </p:pic>
      <p:pic>
        <p:nvPicPr>
          <p:cNvPr id="2" name="Picture 3" descr="C:\BKP_YAMASAKY\ENERGIA\ZÉ CARLOS\FOTOS\2015.07.28 - PCH SALTO CURUCACA\DSC06581.JPG">
            <a:extLst>
              <a:ext uri="{FF2B5EF4-FFF2-40B4-BE49-F238E27FC236}">
                <a16:creationId xmlns:a16="http://schemas.microsoft.com/office/drawing/2014/main" id="{78914FFD-956C-C243-7826-0E65DB1307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2" t="4616" r="28121" b="4778"/>
          <a:stretch/>
        </p:blipFill>
        <p:spPr bwMode="auto">
          <a:xfrm>
            <a:off x="3536780" y="1668304"/>
            <a:ext cx="2489399" cy="275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m 4" descr="Logotipo&#10;&#10;Descrição gerada automaticamente com confiança média">
            <a:extLst>
              <a:ext uri="{FF2B5EF4-FFF2-40B4-BE49-F238E27FC236}">
                <a16:creationId xmlns:a16="http://schemas.microsoft.com/office/drawing/2014/main" id="{CB37A53D-72CC-D61B-4948-F5E88034F0C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6533"/>
          <a:stretch/>
        </p:blipFill>
        <p:spPr>
          <a:xfrm>
            <a:off x="802091" y="3367154"/>
            <a:ext cx="2373913" cy="1163664"/>
          </a:xfrm>
          <a:prstGeom prst="rect">
            <a:avLst/>
          </a:prstGeom>
        </p:spPr>
      </p:pic>
      <p:sp>
        <p:nvSpPr>
          <p:cNvPr id="10" name="Seta: para a Direita 9">
            <a:extLst>
              <a:ext uri="{FF2B5EF4-FFF2-40B4-BE49-F238E27FC236}">
                <a16:creationId xmlns:a16="http://schemas.microsoft.com/office/drawing/2014/main" id="{C822420A-B648-8FB1-FD89-64FC3653A5D7}"/>
              </a:ext>
            </a:extLst>
          </p:cNvPr>
          <p:cNvSpPr/>
          <p:nvPr/>
        </p:nvSpPr>
        <p:spPr>
          <a:xfrm rot="5400000">
            <a:off x="1820320" y="3077382"/>
            <a:ext cx="337457" cy="276999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ctr"/>
            <a:endParaRPr lang="pt-BR" sz="1000" dirty="0" err="1"/>
          </a:p>
        </p:txBody>
      </p:sp>
      <p:sp>
        <p:nvSpPr>
          <p:cNvPr id="18" name="Seta: para a Direita 17">
            <a:extLst>
              <a:ext uri="{FF2B5EF4-FFF2-40B4-BE49-F238E27FC236}">
                <a16:creationId xmlns:a16="http://schemas.microsoft.com/office/drawing/2014/main" id="{405DB38F-4498-6DAB-C5E9-D67428CCE103}"/>
              </a:ext>
            </a:extLst>
          </p:cNvPr>
          <p:cNvSpPr/>
          <p:nvPr/>
        </p:nvSpPr>
        <p:spPr>
          <a:xfrm rot="5400000">
            <a:off x="7338252" y="3081017"/>
            <a:ext cx="337457" cy="276999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ctr"/>
            <a:endParaRPr lang="pt-BR" sz="1000" dirty="0" err="1"/>
          </a:p>
        </p:txBody>
      </p:sp>
      <p:sp>
        <p:nvSpPr>
          <p:cNvPr id="19" name="Sinal de Adição 18">
            <a:extLst>
              <a:ext uri="{FF2B5EF4-FFF2-40B4-BE49-F238E27FC236}">
                <a16:creationId xmlns:a16="http://schemas.microsoft.com/office/drawing/2014/main" id="{B26328CA-AC88-93C6-CF26-D76200D575D8}"/>
              </a:ext>
            </a:extLst>
          </p:cNvPr>
          <p:cNvSpPr/>
          <p:nvPr/>
        </p:nvSpPr>
        <p:spPr>
          <a:xfrm>
            <a:off x="4247439" y="1751108"/>
            <a:ext cx="1068079" cy="998056"/>
          </a:xfrm>
          <a:prstGeom prst="mathPlus">
            <a:avLst/>
          </a:prstGeom>
          <a:solidFill>
            <a:srgbClr val="C00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ctr"/>
            <a:endParaRPr lang="pt-BR" sz="1000" dirty="0" err="1"/>
          </a:p>
        </p:txBody>
      </p:sp>
    </p:spTree>
    <p:extLst>
      <p:ext uri="{BB962C8B-B14F-4D97-AF65-F5344CB8AC3E}">
        <p14:creationId xmlns:p14="http://schemas.microsoft.com/office/powerpoint/2010/main" val="1354051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DE63D2-464A-FD50-EB50-4F2F922BFD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720215F0-E201-CAC6-A336-D3180B0924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50825"/>
            <a:ext cx="7994381" cy="470898"/>
          </a:xfrm>
        </p:spPr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</a:t>
            </a:r>
            <a:b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quê</a:t>
            </a:r>
            <a:r>
              <a:rPr lang="en-US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SFC?</a:t>
            </a:r>
            <a:endParaRPr lang="de-DE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3990A16C-BEC5-71B0-7D75-60DA4DB77A86}"/>
              </a:ext>
            </a:extLst>
          </p:cNvPr>
          <p:cNvSpPr txBox="1"/>
          <p:nvPr/>
        </p:nvSpPr>
        <p:spPr>
          <a:xfrm>
            <a:off x="841107" y="1148410"/>
            <a:ext cx="4603824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algn="l"/>
            <a:r>
              <a:rPr lang="pt-BR" dirty="0"/>
              <a:t>Qual o estado de saúde deste equipamento?</a:t>
            </a:r>
          </a:p>
        </p:txBody>
      </p:sp>
      <p:sp>
        <p:nvSpPr>
          <p:cNvPr id="9" name="Ellipse 17">
            <a:extLst>
              <a:ext uri="{FF2B5EF4-FFF2-40B4-BE49-F238E27FC236}">
                <a16:creationId xmlns:a16="http://schemas.microsoft.com/office/drawing/2014/main" id="{21268C78-C5F2-FCA8-61AD-7E19806D8F93}"/>
              </a:ext>
            </a:extLst>
          </p:cNvPr>
          <p:cNvSpPr/>
          <p:nvPr/>
        </p:nvSpPr>
        <p:spPr>
          <a:xfrm>
            <a:off x="531724" y="1668304"/>
            <a:ext cx="2914650" cy="116366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en-GB" sz="1800" b="0" i="0" u="none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800" dirty="0" err="1">
                <a:solidFill>
                  <a:schemeClr val="bg1"/>
                </a:solidFill>
              </a:rPr>
              <a:t>Informação</a:t>
            </a:r>
            <a:endParaRPr lang="en-GB" sz="2800" dirty="0">
              <a:solidFill>
                <a:schemeClr val="bg1"/>
              </a:solidFill>
            </a:endParaRPr>
          </a:p>
        </p:txBody>
      </p:sp>
      <p:sp>
        <p:nvSpPr>
          <p:cNvPr id="12" name="Ellipse 17">
            <a:extLst>
              <a:ext uri="{FF2B5EF4-FFF2-40B4-BE49-F238E27FC236}">
                <a16:creationId xmlns:a16="http://schemas.microsoft.com/office/drawing/2014/main" id="{F2F1A580-BA6F-DEA7-F6AD-58F1D3F8CDB3}"/>
              </a:ext>
            </a:extLst>
          </p:cNvPr>
          <p:cNvSpPr/>
          <p:nvPr/>
        </p:nvSpPr>
        <p:spPr>
          <a:xfrm>
            <a:off x="6049656" y="1668304"/>
            <a:ext cx="2914650" cy="116366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en-GB" sz="1800" b="0" i="0" u="none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800" dirty="0" err="1">
                <a:solidFill>
                  <a:schemeClr val="bg1"/>
                </a:solidFill>
              </a:rPr>
              <a:t>Serviço</a:t>
            </a:r>
            <a:endParaRPr lang="en-GB" sz="2800" dirty="0">
              <a:solidFill>
                <a:schemeClr val="bg1"/>
              </a:solidFill>
            </a:endParaRPr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id="{CA40C6B1-508A-7610-5238-9D1CC02227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273" b="42119"/>
          <a:stretch/>
        </p:blipFill>
        <p:spPr>
          <a:xfrm>
            <a:off x="6289734" y="3641790"/>
            <a:ext cx="2434491" cy="307196"/>
          </a:xfrm>
          <a:prstGeom prst="rect">
            <a:avLst/>
          </a:prstGeom>
        </p:spPr>
      </p:pic>
      <p:pic>
        <p:nvPicPr>
          <p:cNvPr id="2" name="Picture 3" descr="C:\BKP_YAMASAKY\ENERGIA\ZÉ CARLOS\FOTOS\2015.07.28 - PCH SALTO CURUCACA\DSC06581.JPG">
            <a:extLst>
              <a:ext uri="{FF2B5EF4-FFF2-40B4-BE49-F238E27FC236}">
                <a16:creationId xmlns:a16="http://schemas.microsoft.com/office/drawing/2014/main" id="{863BAFF8-75A6-7F75-9648-CC2D7152C4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2" t="4616" r="28121" b="4778"/>
          <a:stretch/>
        </p:blipFill>
        <p:spPr bwMode="auto">
          <a:xfrm>
            <a:off x="3536780" y="1668304"/>
            <a:ext cx="2489399" cy="275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m 4" descr="Logotipo&#10;&#10;Descrição gerada automaticamente com confiança média">
            <a:extLst>
              <a:ext uri="{FF2B5EF4-FFF2-40B4-BE49-F238E27FC236}">
                <a16:creationId xmlns:a16="http://schemas.microsoft.com/office/drawing/2014/main" id="{A0C89906-6EE3-4ACB-8B06-48E38056ED4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6533"/>
          <a:stretch/>
        </p:blipFill>
        <p:spPr>
          <a:xfrm>
            <a:off x="802091" y="3367154"/>
            <a:ext cx="2373913" cy="1163664"/>
          </a:xfrm>
          <a:prstGeom prst="rect">
            <a:avLst/>
          </a:prstGeom>
        </p:spPr>
      </p:pic>
      <p:sp>
        <p:nvSpPr>
          <p:cNvPr id="10" name="Seta: para a Direita 9">
            <a:extLst>
              <a:ext uri="{FF2B5EF4-FFF2-40B4-BE49-F238E27FC236}">
                <a16:creationId xmlns:a16="http://schemas.microsoft.com/office/drawing/2014/main" id="{4A7D9F20-B301-F9A9-3262-B0C34423E222}"/>
              </a:ext>
            </a:extLst>
          </p:cNvPr>
          <p:cNvSpPr/>
          <p:nvPr/>
        </p:nvSpPr>
        <p:spPr>
          <a:xfrm rot="5400000">
            <a:off x="1820320" y="3077382"/>
            <a:ext cx="337457" cy="276999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ctr"/>
            <a:endParaRPr lang="pt-BR" sz="1000" dirty="0" err="1"/>
          </a:p>
        </p:txBody>
      </p:sp>
      <p:sp>
        <p:nvSpPr>
          <p:cNvPr id="18" name="Seta: para a Direita 17">
            <a:extLst>
              <a:ext uri="{FF2B5EF4-FFF2-40B4-BE49-F238E27FC236}">
                <a16:creationId xmlns:a16="http://schemas.microsoft.com/office/drawing/2014/main" id="{EA8AA30B-04AA-88D4-1A21-78A1FD6CF4D2}"/>
              </a:ext>
            </a:extLst>
          </p:cNvPr>
          <p:cNvSpPr/>
          <p:nvPr/>
        </p:nvSpPr>
        <p:spPr>
          <a:xfrm rot="5400000">
            <a:off x="7338252" y="3081017"/>
            <a:ext cx="337457" cy="276999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ctr"/>
            <a:endParaRPr lang="pt-BR" sz="1000" dirty="0" err="1"/>
          </a:p>
        </p:txBody>
      </p:sp>
      <p:sp>
        <p:nvSpPr>
          <p:cNvPr id="20" name="Ellipse 17">
            <a:extLst>
              <a:ext uri="{FF2B5EF4-FFF2-40B4-BE49-F238E27FC236}">
                <a16:creationId xmlns:a16="http://schemas.microsoft.com/office/drawing/2014/main" id="{60501129-AA23-6A30-AF03-7E92B4C82275}"/>
              </a:ext>
            </a:extLst>
          </p:cNvPr>
          <p:cNvSpPr/>
          <p:nvPr/>
        </p:nvSpPr>
        <p:spPr>
          <a:xfrm>
            <a:off x="3324152" y="3059958"/>
            <a:ext cx="2914650" cy="1163664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en-GB" sz="1800" b="0" i="0" u="none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800" dirty="0" err="1">
                <a:solidFill>
                  <a:schemeClr val="bg1"/>
                </a:solidFill>
              </a:rPr>
              <a:t>Produção</a:t>
            </a:r>
            <a:endParaRPr lang="en-GB" sz="2800" dirty="0">
              <a:solidFill>
                <a:schemeClr val="bg1"/>
              </a:solidFill>
            </a:endParaRPr>
          </a:p>
          <a:p>
            <a:pPr algn="ctr"/>
            <a:r>
              <a:rPr lang="en-GB" sz="2800" dirty="0" err="1">
                <a:solidFill>
                  <a:schemeClr val="bg1"/>
                </a:solidFill>
              </a:rPr>
              <a:t>Garantida</a:t>
            </a:r>
            <a:endParaRPr lang="en-GB" sz="2800" dirty="0">
              <a:solidFill>
                <a:schemeClr val="bg1"/>
              </a:solidFill>
            </a:endParaRPr>
          </a:p>
        </p:txBody>
      </p:sp>
      <p:sp>
        <p:nvSpPr>
          <p:cNvPr id="21" name="Igual a 20">
            <a:extLst>
              <a:ext uri="{FF2B5EF4-FFF2-40B4-BE49-F238E27FC236}">
                <a16:creationId xmlns:a16="http://schemas.microsoft.com/office/drawing/2014/main" id="{0647B0E5-1D6A-87A6-A901-707352F8D92C}"/>
              </a:ext>
            </a:extLst>
          </p:cNvPr>
          <p:cNvSpPr/>
          <p:nvPr/>
        </p:nvSpPr>
        <p:spPr>
          <a:xfrm rot="5400000">
            <a:off x="4096222" y="2170261"/>
            <a:ext cx="1360074" cy="562854"/>
          </a:xfrm>
          <a:prstGeom prst="mathEqual">
            <a:avLst/>
          </a:prstGeom>
          <a:solidFill>
            <a:srgbClr val="C00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ctr"/>
            <a:endParaRPr lang="pt-BR" sz="10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13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E8B512B-0BB7-285E-7259-C5F7D5A30B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E8B512B-0BB7-285E-7259-C5F7D5A30B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7A489-C07F-DF3C-F0D9-54184C723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presentação – SFC –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Fluid Connection.</a:t>
            </a:r>
            <a:br>
              <a:rPr lang="de-DE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17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quê o SFC?</a:t>
            </a:r>
            <a:endParaRPr lang="de-DE" sz="17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2F952EF-B5F1-C929-6F60-EA773725FD9C}"/>
              </a:ext>
            </a:extLst>
          </p:cNvPr>
          <p:cNvSpPr txBox="1">
            <a:spLocks/>
          </p:cNvSpPr>
          <p:nvPr/>
        </p:nvSpPr>
        <p:spPr>
          <a:xfrm>
            <a:off x="576262" y="1058864"/>
            <a:ext cx="2526676" cy="3384546"/>
          </a:xfrm>
          <a:prstGeom prst="rect">
            <a:avLst/>
          </a:prstGeom>
        </p:spPr>
        <p:txBody>
          <a:bodyPr/>
          <a:lstStyle>
            <a:lvl1pPr marL="1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buFont typeface="Wingdings" panose="05000000000000000000" pitchFamily="2" charset="2"/>
              <a:buNone/>
            </a:pPr>
            <a:r>
              <a:rPr lang="de-DE" sz="1200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ização da Informação - Industria 4.0.</a:t>
            </a:r>
          </a:p>
          <a:p>
            <a:pPr marL="0" indent="0" defTabSz="457200">
              <a:buFont typeface="Wingdings" panose="05000000000000000000" pitchFamily="2" charset="2"/>
              <a:buNone/>
            </a:pPr>
            <a:endParaRPr lang="de-DE" sz="1200" b="1" dirty="0">
              <a:solidFill>
                <a:srgbClr val="E2001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pt-BR" sz="1000" kern="1200" dirty="0">
                <a:solidFill>
                  <a:schemeClr val="tx1"/>
                </a:solidFill>
                <a:effectLst/>
              </a:rPr>
              <a:t>A Digitalização Traz Benefícios e o principal é que </a:t>
            </a:r>
            <a:r>
              <a:rPr lang="pt-BR" sz="1000" dirty="0"/>
              <a:t>p</a:t>
            </a:r>
            <a:r>
              <a:rPr lang="pt-BR" sz="1000" kern="1200" dirty="0">
                <a:solidFill>
                  <a:schemeClr val="tx1"/>
                </a:solidFill>
                <a:effectLst/>
              </a:rPr>
              <a:t>ermite serviços como diagnóstico e manutenção remotos que ajudam a melhorar a disponibilidade e a produtividade de equipamentos</a:t>
            </a:r>
            <a:endParaRPr lang="de-DE" dirty="0"/>
          </a:p>
        </p:txBody>
      </p:sp>
      <p:sp>
        <p:nvSpPr>
          <p:cNvPr id="3" name="Gleichschenkliges Dreieck 43">
            <a:extLst>
              <a:ext uri="{FF2B5EF4-FFF2-40B4-BE49-F238E27FC236}">
                <a16:creationId xmlns:a16="http://schemas.microsoft.com/office/drawing/2014/main" id="{9A663E51-037C-DD36-7F8B-235FEF2ADB1A}"/>
              </a:ext>
            </a:extLst>
          </p:cNvPr>
          <p:cNvSpPr/>
          <p:nvPr/>
        </p:nvSpPr>
        <p:spPr>
          <a:xfrm>
            <a:off x="3251245" y="911012"/>
            <a:ext cx="5056623" cy="712210"/>
          </a:xfrm>
          <a:prstGeom prst="triangle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rgbClr val="E6E6E6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 4.0</a:t>
            </a:r>
          </a:p>
        </p:txBody>
      </p:sp>
      <p:sp>
        <p:nvSpPr>
          <p:cNvPr id="8" name="Rechteck 44">
            <a:extLst>
              <a:ext uri="{FF2B5EF4-FFF2-40B4-BE49-F238E27FC236}">
                <a16:creationId xmlns:a16="http://schemas.microsoft.com/office/drawing/2014/main" id="{FD2446AC-66D9-183F-038D-D468424D51BD}"/>
              </a:ext>
            </a:extLst>
          </p:cNvPr>
          <p:cNvSpPr/>
          <p:nvPr/>
        </p:nvSpPr>
        <p:spPr>
          <a:xfrm>
            <a:off x="3263409" y="4052840"/>
            <a:ext cx="5054942" cy="52271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rgbClr val="E6E6E6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ization</a:t>
            </a:r>
          </a:p>
        </p:txBody>
      </p:sp>
      <p:grpSp>
        <p:nvGrpSpPr>
          <p:cNvPr id="9" name="Gruppieren 45">
            <a:extLst>
              <a:ext uri="{FF2B5EF4-FFF2-40B4-BE49-F238E27FC236}">
                <a16:creationId xmlns:a16="http://schemas.microsoft.com/office/drawing/2014/main" id="{B6625851-AF02-26CE-E81E-21D67A65AE6F}"/>
              </a:ext>
            </a:extLst>
          </p:cNvPr>
          <p:cNvGrpSpPr/>
          <p:nvPr/>
        </p:nvGrpSpPr>
        <p:grpSpPr>
          <a:xfrm>
            <a:off x="5407195" y="1666424"/>
            <a:ext cx="720080" cy="2344879"/>
            <a:chOff x="4651231" y="2038888"/>
            <a:chExt cx="720080" cy="2344879"/>
          </a:xfrm>
        </p:grpSpPr>
        <p:sp>
          <p:nvSpPr>
            <p:cNvPr id="10" name="Pfeil nach unten 46">
              <a:extLst>
                <a:ext uri="{FF2B5EF4-FFF2-40B4-BE49-F238E27FC236}">
                  <a16:creationId xmlns:a16="http://schemas.microsoft.com/office/drawing/2014/main" id="{9A046DFC-8254-F123-F14A-57E067ACA787}"/>
                </a:ext>
              </a:extLst>
            </p:cNvPr>
            <p:cNvSpPr/>
            <p:nvPr/>
          </p:nvSpPr>
          <p:spPr>
            <a:xfrm rot="10800000">
              <a:off x="4651231" y="2038888"/>
              <a:ext cx="720080" cy="2344879"/>
            </a:xfrm>
            <a:prstGeom prst="downArrow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feld 47">
              <a:extLst>
                <a:ext uri="{FF2B5EF4-FFF2-40B4-BE49-F238E27FC236}">
                  <a16:creationId xmlns:a16="http://schemas.microsoft.com/office/drawing/2014/main" id="{ED55AFBB-1357-BBCD-AF3D-F8AA799AACC3}"/>
                </a:ext>
              </a:extLst>
            </p:cNvPr>
            <p:cNvSpPr txBox="1"/>
            <p:nvPr/>
          </p:nvSpPr>
          <p:spPr>
            <a:xfrm rot="16200000">
              <a:off x="4532489" y="3128424"/>
              <a:ext cx="957561" cy="34970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r>
                <a:rPr lang="en-US" dirty="0">
                  <a:solidFill>
                    <a:schemeClr val="bg1">
                      <a:lumMod val="8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ig Data</a:t>
              </a:r>
            </a:p>
          </p:txBody>
        </p:sp>
      </p:grpSp>
      <p:grpSp>
        <p:nvGrpSpPr>
          <p:cNvPr id="12" name="Gruppieren 48">
            <a:extLst>
              <a:ext uri="{FF2B5EF4-FFF2-40B4-BE49-F238E27FC236}">
                <a16:creationId xmlns:a16="http://schemas.microsoft.com/office/drawing/2014/main" id="{50AB0F13-1764-9EF7-EFD1-5BB746A12D4A}"/>
              </a:ext>
            </a:extLst>
          </p:cNvPr>
          <p:cNvGrpSpPr/>
          <p:nvPr/>
        </p:nvGrpSpPr>
        <p:grpSpPr>
          <a:xfrm>
            <a:off x="3823019" y="1666424"/>
            <a:ext cx="720080" cy="2344879"/>
            <a:chOff x="2627784" y="2038888"/>
            <a:chExt cx="720080" cy="2344879"/>
          </a:xfrm>
        </p:grpSpPr>
        <p:sp>
          <p:nvSpPr>
            <p:cNvPr id="13" name="Pfeil nach unten 49">
              <a:extLst>
                <a:ext uri="{FF2B5EF4-FFF2-40B4-BE49-F238E27FC236}">
                  <a16:creationId xmlns:a16="http://schemas.microsoft.com/office/drawing/2014/main" id="{EA61F20A-7BBD-BFC3-CCEA-AE4E7F7C1FD5}"/>
                </a:ext>
              </a:extLst>
            </p:cNvPr>
            <p:cNvSpPr/>
            <p:nvPr/>
          </p:nvSpPr>
          <p:spPr>
            <a:xfrm rot="10800000">
              <a:off x="2627784" y="2038888"/>
              <a:ext cx="720080" cy="2344879"/>
            </a:xfrm>
            <a:prstGeom prst="downArrow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Textfeld 50">
              <a:extLst>
                <a:ext uri="{FF2B5EF4-FFF2-40B4-BE49-F238E27FC236}">
                  <a16:creationId xmlns:a16="http://schemas.microsoft.com/office/drawing/2014/main" id="{C331E386-1DF2-5E9B-20DE-77FF7F13BEC5}"/>
                </a:ext>
              </a:extLst>
            </p:cNvPr>
            <p:cNvSpPr txBox="1"/>
            <p:nvPr/>
          </p:nvSpPr>
          <p:spPr>
            <a:xfrm rot="16200000">
              <a:off x="2226915" y="3128424"/>
              <a:ext cx="1521818" cy="34970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r>
                <a:rPr lang="en-US" dirty="0">
                  <a:solidFill>
                    <a:schemeClr val="bg1">
                      <a:lumMod val="8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mart Factory</a:t>
              </a:r>
            </a:p>
          </p:txBody>
        </p:sp>
      </p:grpSp>
      <p:grpSp>
        <p:nvGrpSpPr>
          <p:cNvPr id="15" name="Gruppieren 51">
            <a:extLst>
              <a:ext uri="{FF2B5EF4-FFF2-40B4-BE49-F238E27FC236}">
                <a16:creationId xmlns:a16="http://schemas.microsoft.com/office/drawing/2014/main" id="{ED6C7394-6C08-FC00-EC57-8B7AB0B47268}"/>
              </a:ext>
            </a:extLst>
          </p:cNvPr>
          <p:cNvGrpSpPr/>
          <p:nvPr/>
        </p:nvGrpSpPr>
        <p:grpSpPr>
          <a:xfrm>
            <a:off x="4615107" y="1666426"/>
            <a:ext cx="720080" cy="2344879"/>
            <a:chOff x="3295682" y="2038890"/>
            <a:chExt cx="720080" cy="2344879"/>
          </a:xfrm>
        </p:grpSpPr>
        <p:sp>
          <p:nvSpPr>
            <p:cNvPr id="16" name="Pfeil nach unten 52">
              <a:extLst>
                <a:ext uri="{FF2B5EF4-FFF2-40B4-BE49-F238E27FC236}">
                  <a16:creationId xmlns:a16="http://schemas.microsoft.com/office/drawing/2014/main" id="{E4AF4715-C842-66E7-DD5E-B30564DF61AD}"/>
                </a:ext>
              </a:extLst>
            </p:cNvPr>
            <p:cNvSpPr/>
            <p:nvPr/>
          </p:nvSpPr>
          <p:spPr>
            <a:xfrm rot="10800000">
              <a:off x="3295682" y="2038890"/>
              <a:ext cx="720080" cy="2344879"/>
            </a:xfrm>
            <a:prstGeom prst="downArrow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feld 53">
              <a:extLst>
                <a:ext uri="{FF2B5EF4-FFF2-40B4-BE49-F238E27FC236}">
                  <a16:creationId xmlns:a16="http://schemas.microsoft.com/office/drawing/2014/main" id="{D676E6C0-A3DE-26A4-FA37-97CEB78A258E}"/>
                </a:ext>
              </a:extLst>
            </p:cNvPr>
            <p:cNvSpPr txBox="1"/>
            <p:nvPr/>
          </p:nvSpPr>
          <p:spPr>
            <a:xfrm rot="16200000">
              <a:off x="2580627" y="3128426"/>
              <a:ext cx="2150195" cy="34970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r>
                <a:rPr lang="en-US" dirty="0" err="1">
                  <a:solidFill>
                    <a:schemeClr val="bg1">
                      <a:lumMod val="8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agnóstico</a:t>
              </a:r>
              <a:r>
                <a:rPr lang="en-US" dirty="0">
                  <a:solidFill>
                    <a:schemeClr val="bg1">
                      <a:lumMod val="8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chemeClr val="bg1">
                      <a:lumMod val="8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moto</a:t>
              </a:r>
              <a:endParaRPr lang="en-US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uppieren 54">
            <a:extLst>
              <a:ext uri="{FF2B5EF4-FFF2-40B4-BE49-F238E27FC236}">
                <a16:creationId xmlns:a16="http://schemas.microsoft.com/office/drawing/2014/main" id="{6F7EB431-4332-0942-8802-492A0017AEFC}"/>
              </a:ext>
            </a:extLst>
          </p:cNvPr>
          <p:cNvGrpSpPr/>
          <p:nvPr/>
        </p:nvGrpSpPr>
        <p:grpSpPr>
          <a:xfrm>
            <a:off x="3066055" y="1664757"/>
            <a:ext cx="720080" cy="2344879"/>
            <a:chOff x="1936888" y="2037221"/>
            <a:chExt cx="720080" cy="2344879"/>
          </a:xfrm>
        </p:grpSpPr>
        <p:sp>
          <p:nvSpPr>
            <p:cNvPr id="19" name="Pfeil nach unten 55">
              <a:extLst>
                <a:ext uri="{FF2B5EF4-FFF2-40B4-BE49-F238E27FC236}">
                  <a16:creationId xmlns:a16="http://schemas.microsoft.com/office/drawing/2014/main" id="{B3B048EE-8361-8DB2-D09E-738281FC7021}"/>
                </a:ext>
              </a:extLst>
            </p:cNvPr>
            <p:cNvSpPr/>
            <p:nvPr/>
          </p:nvSpPr>
          <p:spPr>
            <a:xfrm rot="10800000">
              <a:off x="1936888" y="2037221"/>
              <a:ext cx="720080" cy="2344879"/>
            </a:xfrm>
            <a:prstGeom prst="downArrow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feld 56">
              <a:extLst>
                <a:ext uri="{FF2B5EF4-FFF2-40B4-BE49-F238E27FC236}">
                  <a16:creationId xmlns:a16="http://schemas.microsoft.com/office/drawing/2014/main" id="{E06F69BF-04F6-21D3-71B0-617E9A24E142}"/>
                </a:ext>
              </a:extLst>
            </p:cNvPr>
            <p:cNvSpPr txBox="1"/>
            <p:nvPr/>
          </p:nvSpPr>
          <p:spPr>
            <a:xfrm rot="16200000">
              <a:off x="1529609" y="3126757"/>
              <a:ext cx="1534642" cy="34970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r>
                <a:rPr lang="en-US" dirty="0" err="1">
                  <a:solidFill>
                    <a:schemeClr val="bg1">
                      <a:lumMod val="8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ectividade</a:t>
              </a:r>
              <a:endParaRPr lang="en-US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uppieren 60">
            <a:extLst>
              <a:ext uri="{FF2B5EF4-FFF2-40B4-BE49-F238E27FC236}">
                <a16:creationId xmlns:a16="http://schemas.microsoft.com/office/drawing/2014/main" id="{4050F042-D9E8-03B1-616A-A021040D00D5}"/>
              </a:ext>
            </a:extLst>
          </p:cNvPr>
          <p:cNvGrpSpPr/>
          <p:nvPr/>
        </p:nvGrpSpPr>
        <p:grpSpPr>
          <a:xfrm>
            <a:off x="6271291" y="1666424"/>
            <a:ext cx="720080" cy="2344879"/>
            <a:chOff x="5302226" y="2038888"/>
            <a:chExt cx="720080" cy="2344879"/>
          </a:xfrm>
        </p:grpSpPr>
        <p:sp>
          <p:nvSpPr>
            <p:cNvPr id="22" name="Pfeil nach unten 61">
              <a:extLst>
                <a:ext uri="{FF2B5EF4-FFF2-40B4-BE49-F238E27FC236}">
                  <a16:creationId xmlns:a16="http://schemas.microsoft.com/office/drawing/2014/main" id="{0540BEAE-87BD-27E8-2C22-E6697B2A62CB}"/>
                </a:ext>
              </a:extLst>
            </p:cNvPr>
            <p:cNvSpPr/>
            <p:nvPr/>
          </p:nvSpPr>
          <p:spPr>
            <a:xfrm rot="10800000">
              <a:off x="5302226" y="2038888"/>
              <a:ext cx="720080" cy="2344879"/>
            </a:xfrm>
            <a:prstGeom prst="downArrow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feld 62">
              <a:extLst>
                <a:ext uri="{FF2B5EF4-FFF2-40B4-BE49-F238E27FC236}">
                  <a16:creationId xmlns:a16="http://schemas.microsoft.com/office/drawing/2014/main" id="{4CF629C0-55D5-92C1-C4B3-A843F6509019}"/>
                </a:ext>
              </a:extLst>
            </p:cNvPr>
            <p:cNvSpPr txBox="1"/>
            <p:nvPr/>
          </p:nvSpPr>
          <p:spPr>
            <a:xfrm rot="16200000">
              <a:off x="4843650" y="3121002"/>
              <a:ext cx="1637234" cy="34970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r>
                <a:rPr lang="en-US" dirty="0" err="1">
                  <a:solidFill>
                    <a:schemeClr val="bg1">
                      <a:lumMod val="8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ponibilidade</a:t>
              </a:r>
              <a:endParaRPr lang="en-US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uppieren 63">
            <a:extLst>
              <a:ext uri="{FF2B5EF4-FFF2-40B4-BE49-F238E27FC236}">
                <a16:creationId xmlns:a16="http://schemas.microsoft.com/office/drawing/2014/main" id="{CC3B0C6C-D976-6535-7A8C-396096F991ED}"/>
              </a:ext>
            </a:extLst>
          </p:cNvPr>
          <p:cNvGrpSpPr/>
          <p:nvPr/>
        </p:nvGrpSpPr>
        <p:grpSpPr>
          <a:xfrm>
            <a:off x="7063379" y="1666424"/>
            <a:ext cx="720080" cy="2344879"/>
            <a:chOff x="5987600" y="2038888"/>
            <a:chExt cx="720080" cy="2344879"/>
          </a:xfrm>
        </p:grpSpPr>
        <p:sp>
          <p:nvSpPr>
            <p:cNvPr id="25" name="Pfeil nach unten 64">
              <a:extLst>
                <a:ext uri="{FF2B5EF4-FFF2-40B4-BE49-F238E27FC236}">
                  <a16:creationId xmlns:a16="http://schemas.microsoft.com/office/drawing/2014/main" id="{99330606-BE02-DD7B-7AE9-86396DB5AD38}"/>
                </a:ext>
              </a:extLst>
            </p:cNvPr>
            <p:cNvSpPr/>
            <p:nvPr/>
          </p:nvSpPr>
          <p:spPr>
            <a:xfrm rot="10800000">
              <a:off x="5987600" y="2038888"/>
              <a:ext cx="720080" cy="2344879"/>
            </a:xfrm>
            <a:prstGeom prst="downArrow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Textfeld 65">
              <a:extLst>
                <a:ext uri="{FF2B5EF4-FFF2-40B4-BE49-F238E27FC236}">
                  <a16:creationId xmlns:a16="http://schemas.microsoft.com/office/drawing/2014/main" id="{EE717F1F-3BD5-8054-014F-CAD3E18F6388}"/>
                </a:ext>
              </a:extLst>
            </p:cNvPr>
            <p:cNvSpPr txBox="1"/>
            <p:nvPr/>
          </p:nvSpPr>
          <p:spPr>
            <a:xfrm rot="16200000">
              <a:off x="5605969" y="3128424"/>
              <a:ext cx="1483346" cy="349702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r>
                <a:rPr lang="en-US" dirty="0" err="1">
                  <a:solidFill>
                    <a:schemeClr val="bg1">
                      <a:lumMod val="8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tividade</a:t>
              </a:r>
              <a:endParaRPr lang="en-US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7" name="Gruppieren 66">
            <a:extLst>
              <a:ext uri="{FF2B5EF4-FFF2-40B4-BE49-F238E27FC236}">
                <a16:creationId xmlns:a16="http://schemas.microsoft.com/office/drawing/2014/main" id="{AD054542-3BE4-29F1-670F-03C91582FD89}"/>
              </a:ext>
            </a:extLst>
          </p:cNvPr>
          <p:cNvGrpSpPr/>
          <p:nvPr/>
        </p:nvGrpSpPr>
        <p:grpSpPr>
          <a:xfrm>
            <a:off x="7783459" y="1666424"/>
            <a:ext cx="720080" cy="2344879"/>
            <a:chOff x="6654292" y="2038888"/>
            <a:chExt cx="720080" cy="2344879"/>
          </a:xfrm>
          <a:solidFill>
            <a:srgbClr val="E30613"/>
          </a:solidFill>
        </p:grpSpPr>
        <p:sp>
          <p:nvSpPr>
            <p:cNvPr id="28" name="Pfeil nach unten 67">
              <a:extLst>
                <a:ext uri="{FF2B5EF4-FFF2-40B4-BE49-F238E27FC236}">
                  <a16:creationId xmlns:a16="http://schemas.microsoft.com/office/drawing/2014/main" id="{C27AD488-C163-4D19-4D1A-EB6732FAD00D}"/>
                </a:ext>
              </a:extLst>
            </p:cNvPr>
            <p:cNvSpPr/>
            <p:nvPr/>
          </p:nvSpPr>
          <p:spPr>
            <a:xfrm rot="10800000">
              <a:off x="6654292" y="2038888"/>
              <a:ext cx="720080" cy="2344879"/>
            </a:xfrm>
            <a:prstGeom prst="down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Textfeld 68">
              <a:extLst>
                <a:ext uri="{FF2B5EF4-FFF2-40B4-BE49-F238E27FC236}">
                  <a16:creationId xmlns:a16="http://schemas.microsoft.com/office/drawing/2014/main" id="{C859F7CA-1B25-86C8-68D8-3FF01591378A}"/>
                </a:ext>
              </a:extLst>
            </p:cNvPr>
            <p:cNvSpPr txBox="1"/>
            <p:nvPr/>
          </p:nvSpPr>
          <p:spPr>
            <a:xfrm rot="16200000">
              <a:off x="6343194" y="3128424"/>
              <a:ext cx="1342281" cy="349702"/>
            </a:xfrm>
            <a:prstGeom prst="rect">
              <a:avLst/>
            </a:prstGeom>
            <a:grpFill/>
            <a:ln>
              <a:noFill/>
            </a:ln>
          </p:spPr>
          <p:txBody>
            <a:bodyPr wrap="none" lIns="36000" tIns="36000" rIns="36000" bIns="36000" rtlCol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r>
                <a:rPr lang="en-US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utenção</a:t>
              </a:r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0233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White;-2"/>
  <p:tag name="ML_AD_ROTATION" val="0"/>
  <p:tag name="ML_AD_LEFT" val="605,0127"/>
  <p:tag name="ML_AD_TOP" val="216,691"/>
  <p:tag name="ML_AD_HEIGHT" val="16,95976"/>
  <p:tag name="ML_AD_WIDTH" val="19,07969"/>
  <p:tag name="ML_AD_ASPECTRATIO" val="0"/>
  <p:tag name="ML_AD_FILLTYPE" val="-2"/>
  <p:tag name="ML_AD_TEXTFRAMEWORDWRAP" val="0"/>
  <p:tag name="ML_AD_LEVEL1_FIRSTMARGIN" val="0"/>
  <p:tag name="ML_AD_LEVEL1_LEFTMARGIN" val="0"/>
  <p:tag name="ML_AD_LEVEL2_FIRSTMARGIN" val="35,98197"/>
  <p:tag name="ML_AD_LEVEL2_LEFTMARGIN" val="35,98197"/>
  <p:tag name="ML_AD_LEVEL3_FIRSTMARGIN" val="71,96401"/>
  <p:tag name="ML_AD_LEVEL3_LEFTMARGIN" val="71,96401"/>
  <p:tag name="ML_AD_LEVEL4_FIRSTMARGIN" val="107,946"/>
  <p:tag name="ML_AD_LEVEL4_LEFTMARGIN" val="107,946"/>
  <p:tag name="ML_AD_LEVEL5_FIRSTMARGIN" val="143,928"/>
  <p:tag name="ML_AD_LEVEL5_LEFTMARGIN" val="143,928"/>
  <p:tag name="ML_AD_LEVEL6_FIRSTMARGIN" val="179,91"/>
  <p:tag name="ML_AD_LEVEL6_LEFTMARGIN" val="179,91"/>
  <p:tag name="ML_AD_LEVEL7_FIRSTMARGIN" val="215,892"/>
  <p:tag name="ML_AD_LEVEL7_LEFTMARGIN" val="215,892"/>
  <p:tag name="ML_AD_LEVEL8_FIRSTMARGIN" val="251,874"/>
  <p:tag name="ML_AD_LEVEL8_LEFTMARGIN" val="251,874"/>
  <p:tag name="ML_AD_LEVEL9_FIRSTMARGIN" val="287,856"/>
  <p:tag name="ML_AD_LEVEL9_LEFTMARGIN" val="287,856"/>
  <p:tag name="ML_AD_PARAGRAPH1BULLETED" val="0"/>
  <p:tag name="ML_AD_RUNSCOUNT" val="1"/>
  <p:tag name="ML_AD_RUN1START" val="1"/>
  <p:tag name="ML_AD_RUN1LENGTH" val="1"/>
  <p:tag name="ML_AD_RUN1CURRENTFONTTYPE" val="Bosch Office Sans"/>
  <p:tag name="ML_AD_RUN1CURRENTFONTCOLOR" val=" 16777215"/>
  <p:tag name="ML_AD_RUN1CURRENTFONTSIZE" val=" 8"/>
  <p:tag name="ML_AD_RUN1CURRENTFONTBOLD" val=" 0"/>
  <p:tag name="ML_AD_RUN1CURRENTFONTITALIC" val=" 0"/>
  <p:tag name="ML_AD_RUN1CURRENTFONTUNDERLINE" val=" 0"/>
  <p:tag name="ML_AD_RUN1CURRENTFONTBASELINEOFFSET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ML_AD_ROTATION" val="0"/>
  <p:tag name="ML_AD_LEFT" val="396,0092"/>
  <p:tag name="ML_AD_TOP" val="237,5639"/>
  <p:tag name="ML_AD_HEIGHT" val="194,3249"/>
  <p:tag name="ML_AD_WIDTH" val="144,5298"/>
  <p:tag name="ML_AD_ASPECTRATIO" val="0"/>
  <p:tag name="ML_AD_FILLTYPE" val="1"/>
  <p:tag name="ML_AD_FILLVISIBLE" val="-1"/>
  <p:tag name="ML_AD_FILLFORECOLOR" val="9534554"/>
  <p:tag name="ML_AD_FILLBACKCOLOR" val="16777215"/>
  <p:tag name="ML_AD_TRANSPARENCY" val="0"/>
  <p:tag name="ML_AD_TEXTFRAMEWORDWRAP" val="-1"/>
  <p:tag name="ML_AD_LEVEL1_FIRSTMARGIN" val="0"/>
  <p:tag name="ML_AD_LEVEL1_LEFTMARGIN" val="0"/>
  <p:tag name="ML_AD_LEVEL2_FIRSTMARGIN" val="35,98197"/>
  <p:tag name="ML_AD_LEVEL2_LEFTMARGIN" val="35,98197"/>
  <p:tag name="ML_AD_LEVEL3_FIRSTMARGIN" val="71,96401"/>
  <p:tag name="ML_AD_LEVEL3_LEFTMARGIN" val="71,96401"/>
  <p:tag name="ML_AD_LEVEL4_FIRSTMARGIN" val="107,946"/>
  <p:tag name="ML_AD_LEVEL4_LEFTMARGIN" val="107,946"/>
  <p:tag name="ML_AD_LEVEL5_FIRSTMARGIN" val="143,928"/>
  <p:tag name="ML_AD_LEVEL5_LEFTMARGIN" val="143,928"/>
  <p:tag name="ML_AD_LEVEL6_FIRSTMARGIN" val="179,91"/>
  <p:tag name="ML_AD_LEVEL6_LEFTMARGIN" val="179,91"/>
  <p:tag name="ML_AD_LEVEL7_FIRSTMARGIN" val="215,892"/>
  <p:tag name="ML_AD_LEVEL7_LEFTMARGIN" val="215,892"/>
  <p:tag name="ML_AD_LEVEL8_FIRSTMARGIN" val="251,874"/>
  <p:tag name="ML_AD_LEVEL8_LEFTMARGIN" val="251,874"/>
  <p:tag name="ML_AD_LEVEL9_FIRSTMARGIN" val="287,856"/>
  <p:tag name="ML_AD_LEVEL9_LEFTMARGIN" val="287,856"/>
  <p:tag name="ML_AD_PARAGRAPH1BULLETED" val="0"/>
  <p:tag name="ML_AD_PARAGRAPH2BULLETED" val="0"/>
  <p:tag name="ML_AD_PARAGRAPH3BULLETED" val="-1"/>
  <p:tag name="ML_AD_PARAGRAPH3BULLETCHARACTER" val="167"/>
  <p:tag name="ML_AD_PARAGRAPH3BULLETFONTNAME" val="Wingdings"/>
  <p:tag name="ML_AD_PARAGRAPH3BULLETFONTCOLOR" val="0"/>
  <p:tag name="ML_AD_PARAGRAPH3BULLETFONTSIZE" val="11"/>
  <p:tag name="ML_AD_PARAGRAPH3BULLETTYPE" val="1"/>
  <p:tag name="ML_AD_PARAGRAPH3ALIGNMENT" val="1"/>
  <p:tag name="ML_AD_PARAGRAPH3FIRSTLINEINDENT" val="0"/>
  <p:tag name="ML_AD_PARAGRAPH3LEFTINDENT" val="0"/>
  <p:tag name="ML_AD_PARAGRAPH4BULLETED" val="0"/>
  <p:tag name="ML_AD_RUNSCOUNT" val="3"/>
  <p:tag name="ML_AD_RUN1START" val="1"/>
  <p:tag name="ML_AD_RUN1LENGTH" val="20"/>
  <p:tag name="ML_AD_RUN1CURRENTFONTTYPE" val="Bosch Office Sans"/>
  <p:tag name="ML_AD_RUN1CURRENTFONTCOLOR" val=" 16777215"/>
  <p:tag name="ML_AD_RUN1CURRENTFONTSIZE" val=" 14"/>
  <p:tag name="ML_AD_RUN1CURRENTFONTBOLD" val=" 0"/>
  <p:tag name="ML_AD_RUN1CURRENTFONTITALIC" val=" 0"/>
  <p:tag name="ML_AD_RUN1CURRENTFONTUNDERLINE" val=" 0"/>
  <p:tag name="ML_AD_RUN1CURRENTFONTBASELINEOFFSET" val="0"/>
  <p:tag name="ML_AD_RUN2START" val="21"/>
  <p:tag name="ML_AD_RUN2LENGTH" val="1"/>
  <p:tag name="ML_AD_RUN2CURRENTFONTTYPE" val="Bosch Office Sans"/>
  <p:tag name="ML_AD_RUN2CURRENTFONTCOLOR" val=" 16777215"/>
  <p:tag name="ML_AD_RUN2CURRENTFONTSIZE" val=" 8"/>
  <p:tag name="ML_AD_RUN2CURRENTFONTBOLD" val=" 0"/>
  <p:tag name="ML_AD_RUN2CURRENTFONTITALIC" val=" 0"/>
  <p:tag name="ML_AD_RUN2CURRENTFONTUNDERLINE" val=" 0"/>
  <p:tag name="ML_AD_RUN2CURRENTFONTBASELINEOFFSET" val="0"/>
  <p:tag name="ML_AD_RUN3START" val="22"/>
  <p:tag name="ML_AD_RUN3LENGTH" val="178"/>
  <p:tag name="ML_AD_RUN3CURRENTFONTTYPE" val="Bosch Office Sans"/>
  <p:tag name="ML_AD_RUN3CURRENTFONTCOLOR" val=" 16777215"/>
  <p:tag name="ML_AD_RUN3CURRENTFONTSIZE" val=" 11"/>
  <p:tag name="ML_AD_RUN3CURRENTFONTBOLD" val=" 0"/>
  <p:tag name="ML_AD_RUN3CURRENTFONTITALIC" val=" 0"/>
  <p:tag name="ML_AD_RUN3CURRENTFONTUNDERLINE" val=" 0"/>
  <p:tag name="ML_AD_RUN3CURRENTFONTBASELINEOFFSET" val="0"/>
  <p:tag name="COLORS" val="Accent5;White;-2;-2;White;-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ML_AD_ROTATION" val="0"/>
  <p:tag name="ML_AD_LEFT" val="786,0507"/>
  <p:tag name="ML_AD_TOP" val="90,72346"/>
  <p:tag name="ML_AD_HEIGHT" val="63,76315"/>
  <p:tag name="ML_AD_WIDTH" val="66,03024"/>
  <p:tag name="ML_AD_ASPECTRATIO" val="0"/>
  <p:tag name="ML_AD_FILLTYPE" val="1"/>
  <p:tag name="ML_AD_FILLVISIBLE" val="-1"/>
  <p:tag name="ML_AD_FILLFORECOLOR" val="15195599"/>
  <p:tag name="ML_AD_FILLBACKCOLOR" val="16777215"/>
  <p:tag name="ML_AD_TRANSPARENCY" val="0"/>
  <p:tag name="ML_AD_TEXTFRAMEWORDWRAP" val="-1"/>
  <p:tag name="ML_AD_LEVEL1_FIRSTMARGIN" val="0"/>
  <p:tag name="ML_AD_LEVEL1_LEFTMARGIN" val="0"/>
  <p:tag name="ML_AD_LEVEL2_FIRSTMARGIN" val="35,98197"/>
  <p:tag name="ML_AD_LEVEL2_LEFTMARGIN" val="35,98197"/>
  <p:tag name="ML_AD_LEVEL3_FIRSTMARGIN" val="71,96401"/>
  <p:tag name="ML_AD_LEVEL3_LEFTMARGIN" val="71,96401"/>
  <p:tag name="ML_AD_LEVEL4_FIRSTMARGIN" val="107,946"/>
  <p:tag name="ML_AD_LEVEL4_LEFTMARGIN" val="107,946"/>
  <p:tag name="ML_AD_LEVEL5_FIRSTMARGIN" val="143,928"/>
  <p:tag name="ML_AD_LEVEL5_LEFTMARGIN" val="143,928"/>
  <p:tag name="ML_AD_LEVEL6_FIRSTMARGIN" val="179,91"/>
  <p:tag name="ML_AD_LEVEL6_LEFTMARGIN" val="179,91"/>
  <p:tag name="ML_AD_LEVEL7_FIRSTMARGIN" val="215,892"/>
  <p:tag name="ML_AD_LEVEL7_LEFTMARGIN" val="215,892"/>
  <p:tag name="ML_AD_LEVEL8_FIRSTMARGIN" val="251,874"/>
  <p:tag name="ML_AD_LEVEL8_LEFTMARGIN" val="251,874"/>
  <p:tag name="ML_AD_LEVEL9_FIRSTMARGIN" val="287,856"/>
  <p:tag name="ML_AD_LEVEL9_LEFTMARGIN" val="287,856"/>
  <p:tag name="COLORS" val="Gray4;White;-2;-2;-1;-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ML_AD_ROTATION" val="0"/>
  <p:tag name="ML_AD_LEFT" val="786,0507"/>
  <p:tag name="ML_AD_TOP" val="90,72346"/>
  <p:tag name="ML_AD_HEIGHT" val="63,76315"/>
  <p:tag name="ML_AD_WIDTH" val="66,03024"/>
  <p:tag name="ML_AD_ASPECTRATIO" val="0"/>
  <p:tag name="ML_AD_FILLTYPE" val="1"/>
  <p:tag name="ML_AD_FILLVISIBLE" val="-1"/>
  <p:tag name="ML_AD_FILLFORECOLOR" val="15195599"/>
  <p:tag name="ML_AD_FILLBACKCOLOR" val="16777215"/>
  <p:tag name="ML_AD_TRANSPARENCY" val="0"/>
  <p:tag name="ML_AD_TEXTFRAMEWORDWRAP" val="-1"/>
  <p:tag name="ML_AD_LEVEL1_FIRSTMARGIN" val="0"/>
  <p:tag name="ML_AD_LEVEL1_LEFTMARGIN" val="0"/>
  <p:tag name="ML_AD_LEVEL2_FIRSTMARGIN" val="35,98197"/>
  <p:tag name="ML_AD_LEVEL2_LEFTMARGIN" val="35,98197"/>
  <p:tag name="ML_AD_LEVEL3_FIRSTMARGIN" val="71,96401"/>
  <p:tag name="ML_AD_LEVEL3_LEFTMARGIN" val="71,96401"/>
  <p:tag name="ML_AD_LEVEL4_FIRSTMARGIN" val="107,946"/>
  <p:tag name="ML_AD_LEVEL4_LEFTMARGIN" val="107,946"/>
  <p:tag name="ML_AD_LEVEL5_FIRSTMARGIN" val="143,928"/>
  <p:tag name="ML_AD_LEVEL5_LEFTMARGIN" val="143,928"/>
  <p:tag name="ML_AD_LEVEL6_FIRSTMARGIN" val="179,91"/>
  <p:tag name="ML_AD_LEVEL6_LEFTMARGIN" val="179,91"/>
  <p:tag name="ML_AD_LEVEL7_FIRSTMARGIN" val="215,892"/>
  <p:tag name="ML_AD_LEVEL7_LEFTMARGIN" val="215,892"/>
  <p:tag name="ML_AD_LEVEL8_FIRSTMARGIN" val="251,874"/>
  <p:tag name="ML_AD_LEVEL8_LEFTMARGIN" val="251,874"/>
  <p:tag name="ML_AD_LEVEL9_FIRSTMARGIN" val="287,856"/>
  <p:tag name="ML_AD_LEVEL9_LEFTMARGIN" val="287,856"/>
  <p:tag name="COLORS" val="Gray4;White;-2;-2;-1;-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Extra1;Extra1;-2;-2;-1;-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Black;Extra1;-2;-2;-1;-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Extra1;-2;-2;-1;-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Black;Extra1;-2;-2;-1;-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Extra1;-1;-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Extra1;-2;-2;-1;-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Extra1;-2;-2;-1;-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Black;Extra1;-2;-2;-1;-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Black;Extra1;-2;-2;-1;-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Black;Extra1;-2;-2;-1;-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Extra1;-2;-2;-1;-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Extra1;-2;-2;-1;-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Extra1;-1;-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Extra1;-1;-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Extra1;-1;-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Extra1;-2;-2;-1;-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Black;Extra1;-2;-2;-1;-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Black;Extra1;-2;-2;-1;-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Black;Extra1;-2;-2;-1;-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Extra1;-2;-2;-1;-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Extra1;-2;-2;-1;-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Extra1;-2;-2;-1;-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Black;Extra1;-2;-2;-1;-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Extra1;-1;-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White;-2"/>
  <p:tag name="ML_AD_ROTATION" val="0"/>
  <p:tag name="ML_AD_LEFT" val="527,0327"/>
  <p:tag name="ML_AD_TOP" val="217,7065"/>
  <p:tag name="ML_AD_HEIGHT" val="16,95976"/>
  <p:tag name="ML_AD_WIDTH" val="19,07969"/>
  <p:tag name="ML_AD_ASPECTRATIO" val="0"/>
  <p:tag name="ML_AD_FILLTYPE" val="-2"/>
  <p:tag name="ML_AD_TEXTFRAMEWORDWRAP" val="0"/>
  <p:tag name="ML_AD_LEVEL1_FIRSTMARGIN" val="0"/>
  <p:tag name="ML_AD_LEVEL1_LEFTMARGIN" val="0"/>
  <p:tag name="ML_AD_LEVEL2_FIRSTMARGIN" val="35,98197"/>
  <p:tag name="ML_AD_LEVEL2_LEFTMARGIN" val="35,98197"/>
  <p:tag name="ML_AD_LEVEL3_FIRSTMARGIN" val="71,96401"/>
  <p:tag name="ML_AD_LEVEL3_LEFTMARGIN" val="71,96401"/>
  <p:tag name="ML_AD_LEVEL4_FIRSTMARGIN" val="107,946"/>
  <p:tag name="ML_AD_LEVEL4_LEFTMARGIN" val="107,946"/>
  <p:tag name="ML_AD_LEVEL5_FIRSTMARGIN" val="143,928"/>
  <p:tag name="ML_AD_LEVEL5_LEFTMARGIN" val="143,928"/>
  <p:tag name="ML_AD_LEVEL6_FIRSTMARGIN" val="179,91"/>
  <p:tag name="ML_AD_LEVEL6_LEFTMARGIN" val="179,91"/>
  <p:tag name="ML_AD_LEVEL7_FIRSTMARGIN" val="215,892"/>
  <p:tag name="ML_AD_LEVEL7_LEFTMARGIN" val="215,892"/>
  <p:tag name="ML_AD_LEVEL8_FIRSTMARGIN" val="251,874"/>
  <p:tag name="ML_AD_LEVEL8_LEFTMARGIN" val="251,874"/>
  <p:tag name="ML_AD_LEVEL9_FIRSTMARGIN" val="287,856"/>
  <p:tag name="ML_AD_LEVEL9_LEFTMARGIN" val="287,856"/>
  <p:tag name="ML_AD_PARAGRAPH1BULLETED" val="0"/>
  <p:tag name="ML_AD_RUNSCOUNT" val="1"/>
  <p:tag name="ML_AD_RUN1START" val="1"/>
  <p:tag name="ML_AD_RUN1LENGTH" val="1"/>
  <p:tag name="ML_AD_RUN1CURRENTFONTTYPE" val="Bosch Office Sans"/>
  <p:tag name="ML_AD_RUN1CURRENTFONTCOLOR" val=" 16777215"/>
  <p:tag name="ML_AD_RUN1CURRENTFONTSIZE" val=" 8"/>
  <p:tag name="ML_AD_RUN1CURRENTFONTBOLD" val=" 0"/>
  <p:tag name="ML_AD_RUN1CURRENTFONTITALIC" val=" 0"/>
  <p:tag name="ML_AD_RUN1CURRENTFONTUNDERLINE" val=" 0"/>
  <p:tag name="ML_AD_RUN1CURRENTFONTBASELINEOFFSET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White;-2"/>
  <p:tag name="ML_AD_ROTATION" val="0"/>
  <p:tag name="ML_AD_LEFT" val="682,8458"/>
  <p:tag name="ML_AD_TOP" val="217,7267"/>
  <p:tag name="ML_AD_HEIGHT" val="16,95976"/>
  <p:tag name="ML_AD_WIDTH" val="19,07969"/>
  <p:tag name="ML_AD_ASPECTRATIO" val="0"/>
  <p:tag name="ML_AD_FILLTYPE" val="-2"/>
  <p:tag name="ML_AD_TEXTFRAMEWORDWRAP" val="0"/>
  <p:tag name="ML_AD_LEVEL1_FIRSTMARGIN" val="0"/>
  <p:tag name="ML_AD_LEVEL1_LEFTMARGIN" val="0"/>
  <p:tag name="ML_AD_LEVEL2_FIRSTMARGIN" val="35,98197"/>
  <p:tag name="ML_AD_LEVEL2_LEFTMARGIN" val="35,98197"/>
  <p:tag name="ML_AD_LEVEL3_FIRSTMARGIN" val="71,96401"/>
  <p:tag name="ML_AD_LEVEL3_LEFTMARGIN" val="71,96401"/>
  <p:tag name="ML_AD_LEVEL4_FIRSTMARGIN" val="107,946"/>
  <p:tag name="ML_AD_LEVEL4_LEFTMARGIN" val="107,946"/>
  <p:tag name="ML_AD_LEVEL5_FIRSTMARGIN" val="143,928"/>
  <p:tag name="ML_AD_LEVEL5_LEFTMARGIN" val="143,928"/>
  <p:tag name="ML_AD_LEVEL6_FIRSTMARGIN" val="179,91"/>
  <p:tag name="ML_AD_LEVEL6_LEFTMARGIN" val="179,91"/>
  <p:tag name="ML_AD_LEVEL7_FIRSTMARGIN" val="215,892"/>
  <p:tag name="ML_AD_LEVEL7_LEFTMARGIN" val="215,892"/>
  <p:tag name="ML_AD_LEVEL8_FIRSTMARGIN" val="251,874"/>
  <p:tag name="ML_AD_LEVEL8_LEFTMARGIN" val="251,874"/>
  <p:tag name="ML_AD_LEVEL9_FIRSTMARGIN" val="287,856"/>
  <p:tag name="ML_AD_LEVEL9_LEFTMARGIN" val="287,856"/>
  <p:tag name="ML_AD_PARAGRAPH1BULLETED" val="0"/>
  <p:tag name="ML_AD_RUNSCOUNT" val="1"/>
  <p:tag name="ML_AD_RUN1START" val="1"/>
  <p:tag name="ML_AD_RUN1LENGTH" val="1"/>
  <p:tag name="ML_AD_RUN1CURRENTFONTTYPE" val="Bosch Office Sans"/>
  <p:tag name="ML_AD_RUN1CURRENTFONTCOLOR" val=" 16777215"/>
  <p:tag name="ML_AD_RUN1CURRENTFONTSIZE" val=" 8"/>
  <p:tag name="ML_AD_RUN1CURRENTFONTBOLD" val=" 0"/>
  <p:tag name="ML_AD_RUN1CURRENTFONTITALIC" val=" 0"/>
  <p:tag name="ML_AD_RUN1CURRENTFONTUNDERLINE" val=" 0"/>
  <p:tag name="ML_AD_RUN1CURRENTFONTBASELINEOFFSET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ML_AD_ROTATION" val="0"/>
  <p:tag name="ML_AD_LEFT" val="396,0092"/>
  <p:tag name="ML_AD_TOP" val="237,5639"/>
  <p:tag name="ML_AD_HEIGHT" val="194,3249"/>
  <p:tag name="ML_AD_WIDTH" val="144,5298"/>
  <p:tag name="ML_AD_ASPECTRATIO" val="0"/>
  <p:tag name="ML_AD_FILLTYPE" val="1"/>
  <p:tag name="ML_AD_FILLVISIBLE" val="-1"/>
  <p:tag name="ML_AD_FILLFORECOLOR" val="9534554"/>
  <p:tag name="ML_AD_FILLBACKCOLOR" val="16777215"/>
  <p:tag name="ML_AD_TRANSPARENCY" val="0"/>
  <p:tag name="ML_AD_TEXTFRAMEWORDWRAP" val="-1"/>
  <p:tag name="ML_AD_LEVEL1_FIRSTMARGIN" val="0"/>
  <p:tag name="ML_AD_LEVEL1_LEFTMARGIN" val="0"/>
  <p:tag name="ML_AD_LEVEL2_FIRSTMARGIN" val="35,98197"/>
  <p:tag name="ML_AD_LEVEL2_LEFTMARGIN" val="35,98197"/>
  <p:tag name="ML_AD_LEVEL3_FIRSTMARGIN" val="71,96401"/>
  <p:tag name="ML_AD_LEVEL3_LEFTMARGIN" val="71,96401"/>
  <p:tag name="ML_AD_LEVEL4_FIRSTMARGIN" val="107,946"/>
  <p:tag name="ML_AD_LEVEL4_LEFTMARGIN" val="107,946"/>
  <p:tag name="ML_AD_LEVEL5_FIRSTMARGIN" val="143,928"/>
  <p:tag name="ML_AD_LEVEL5_LEFTMARGIN" val="143,928"/>
  <p:tag name="ML_AD_LEVEL6_FIRSTMARGIN" val="179,91"/>
  <p:tag name="ML_AD_LEVEL6_LEFTMARGIN" val="179,91"/>
  <p:tag name="ML_AD_LEVEL7_FIRSTMARGIN" val="215,892"/>
  <p:tag name="ML_AD_LEVEL7_LEFTMARGIN" val="215,892"/>
  <p:tag name="ML_AD_LEVEL8_FIRSTMARGIN" val="251,874"/>
  <p:tag name="ML_AD_LEVEL8_LEFTMARGIN" val="251,874"/>
  <p:tag name="ML_AD_LEVEL9_FIRSTMARGIN" val="287,856"/>
  <p:tag name="ML_AD_LEVEL9_LEFTMARGIN" val="287,856"/>
  <p:tag name="ML_AD_PARAGRAPH1BULLETED" val="0"/>
  <p:tag name="ML_AD_PARAGRAPH2BULLETED" val="0"/>
  <p:tag name="ML_AD_PARAGRAPH3BULLETED" val="-1"/>
  <p:tag name="ML_AD_PARAGRAPH3BULLETCHARACTER" val="167"/>
  <p:tag name="ML_AD_PARAGRAPH3BULLETFONTNAME" val="Wingdings"/>
  <p:tag name="ML_AD_PARAGRAPH3BULLETFONTCOLOR" val="0"/>
  <p:tag name="ML_AD_PARAGRAPH3BULLETFONTSIZE" val="11"/>
  <p:tag name="ML_AD_PARAGRAPH3BULLETTYPE" val="1"/>
  <p:tag name="ML_AD_PARAGRAPH3ALIGNMENT" val="1"/>
  <p:tag name="ML_AD_PARAGRAPH3FIRSTLINEINDENT" val="0"/>
  <p:tag name="ML_AD_PARAGRAPH3LEFTINDENT" val="0"/>
  <p:tag name="ML_AD_PARAGRAPH4BULLETED" val="0"/>
  <p:tag name="ML_AD_RUNSCOUNT" val="3"/>
  <p:tag name="ML_AD_RUN1START" val="1"/>
  <p:tag name="ML_AD_RUN1LENGTH" val="20"/>
  <p:tag name="ML_AD_RUN1CURRENTFONTTYPE" val="Bosch Office Sans"/>
  <p:tag name="ML_AD_RUN1CURRENTFONTCOLOR" val=" 16777215"/>
  <p:tag name="ML_AD_RUN1CURRENTFONTSIZE" val=" 14"/>
  <p:tag name="ML_AD_RUN1CURRENTFONTBOLD" val=" 0"/>
  <p:tag name="ML_AD_RUN1CURRENTFONTITALIC" val=" 0"/>
  <p:tag name="ML_AD_RUN1CURRENTFONTUNDERLINE" val=" 0"/>
  <p:tag name="ML_AD_RUN1CURRENTFONTBASELINEOFFSET" val="0"/>
  <p:tag name="ML_AD_RUN2START" val="21"/>
  <p:tag name="ML_AD_RUN2LENGTH" val="1"/>
  <p:tag name="ML_AD_RUN2CURRENTFONTTYPE" val="Bosch Office Sans"/>
  <p:tag name="ML_AD_RUN2CURRENTFONTCOLOR" val=" 16777215"/>
  <p:tag name="ML_AD_RUN2CURRENTFONTSIZE" val=" 8"/>
  <p:tag name="ML_AD_RUN2CURRENTFONTBOLD" val=" 0"/>
  <p:tag name="ML_AD_RUN2CURRENTFONTITALIC" val=" 0"/>
  <p:tag name="ML_AD_RUN2CURRENTFONTUNDERLINE" val=" 0"/>
  <p:tag name="ML_AD_RUN2CURRENTFONTBASELINEOFFSET" val="0"/>
  <p:tag name="ML_AD_RUN3START" val="22"/>
  <p:tag name="ML_AD_RUN3LENGTH" val="178"/>
  <p:tag name="ML_AD_RUN3CURRENTFONTTYPE" val="Bosch Office Sans"/>
  <p:tag name="ML_AD_RUN3CURRENTFONTCOLOR" val=" 16777215"/>
  <p:tag name="ML_AD_RUN3CURRENTFONTSIZE" val=" 11"/>
  <p:tag name="ML_AD_RUN3CURRENTFONTBOLD" val=" 0"/>
  <p:tag name="ML_AD_RUN3CURRENTFONTITALIC" val=" 0"/>
  <p:tag name="ML_AD_RUN3CURRENTFONTUNDERLINE" val=" 0"/>
  <p:tag name="ML_AD_RUN3CURRENTFONTBASELINEOFFSET" val="0"/>
  <p:tag name="COLORS" val="Accent5;White;-2;-2;White;-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White;-2"/>
  <p:tag name="ML_AD_ROTATION" val="0"/>
  <p:tag name="ML_AD_LEFT" val="527,0327"/>
  <p:tag name="ML_AD_TOP" val="216,691"/>
  <p:tag name="ML_AD_HEIGHT" val="16,95976"/>
  <p:tag name="ML_AD_WIDTH" val="19,07969"/>
  <p:tag name="ML_AD_ASPECTRATIO" val="0"/>
  <p:tag name="ML_AD_FILLTYPE" val="-2"/>
  <p:tag name="ML_AD_TEXTFRAMEWORDWRAP" val="0"/>
  <p:tag name="ML_AD_LEVEL1_FIRSTMARGIN" val="0"/>
  <p:tag name="ML_AD_LEVEL1_LEFTMARGIN" val="0"/>
  <p:tag name="ML_AD_LEVEL2_FIRSTMARGIN" val="35,98197"/>
  <p:tag name="ML_AD_LEVEL2_LEFTMARGIN" val="35,98197"/>
  <p:tag name="ML_AD_LEVEL3_FIRSTMARGIN" val="71,96401"/>
  <p:tag name="ML_AD_LEVEL3_LEFTMARGIN" val="71,96401"/>
  <p:tag name="ML_AD_LEVEL4_FIRSTMARGIN" val="107,946"/>
  <p:tag name="ML_AD_LEVEL4_LEFTMARGIN" val="107,946"/>
  <p:tag name="ML_AD_LEVEL5_FIRSTMARGIN" val="143,928"/>
  <p:tag name="ML_AD_LEVEL5_LEFTMARGIN" val="143,928"/>
  <p:tag name="ML_AD_LEVEL6_FIRSTMARGIN" val="179,91"/>
  <p:tag name="ML_AD_LEVEL6_LEFTMARGIN" val="179,91"/>
  <p:tag name="ML_AD_LEVEL7_FIRSTMARGIN" val="215,892"/>
  <p:tag name="ML_AD_LEVEL7_LEFTMARGIN" val="215,892"/>
  <p:tag name="ML_AD_LEVEL8_FIRSTMARGIN" val="251,874"/>
  <p:tag name="ML_AD_LEVEL8_LEFTMARGIN" val="251,874"/>
  <p:tag name="ML_AD_LEVEL9_FIRSTMARGIN" val="287,856"/>
  <p:tag name="ML_AD_LEVEL9_LEFTMARGIN" val="287,856"/>
  <p:tag name="ML_AD_PARAGRAPH1BULLETED" val="0"/>
  <p:tag name="ML_AD_RUNSCOUNT" val="1"/>
  <p:tag name="ML_AD_RUN1START" val="1"/>
  <p:tag name="ML_AD_RUN1LENGTH" val="1"/>
  <p:tag name="ML_AD_RUN1CURRENTFONTTYPE" val="Bosch Office Sans"/>
  <p:tag name="ML_AD_RUN1CURRENTFONTCOLOR" val=" 16777215"/>
  <p:tag name="ML_AD_RUN1CURRENTFONTSIZE" val=" 8"/>
  <p:tag name="ML_AD_RUN1CURRENTFONTBOLD" val=" 0"/>
  <p:tag name="ML_AD_RUN1CURRENTFONTITALIC" val=" 0"/>
  <p:tag name="ML_AD_RUN1CURRENTFONTUNDERLINE" val=" 0"/>
  <p:tag name="ML_AD_RUN1CURRENTFONTBASELINEOFFSET" val="0"/>
</p:tagLst>
</file>

<file path=ppt/theme/theme1.xml><?xml version="1.0" encoding="utf-8"?>
<a:theme xmlns:a="http://schemas.openxmlformats.org/drawingml/2006/main" name="HYDAC_Presentation_Template_01-2023">
  <a:themeElements>
    <a:clrScheme name="HYDAC_Color">
      <a:dk1>
        <a:srgbClr val="232630"/>
      </a:dk1>
      <a:lt1>
        <a:sysClr val="window" lastClr="FFFFFF"/>
      </a:lt1>
      <a:dk2>
        <a:srgbClr val="E2001A"/>
      </a:dk2>
      <a:lt2>
        <a:srgbClr val="DCDDDF"/>
      </a:lt2>
      <a:accent1>
        <a:srgbClr val="545963"/>
      </a:accent1>
      <a:accent2>
        <a:srgbClr val="A0A3AA"/>
      </a:accent2>
      <a:accent3>
        <a:srgbClr val="DCDDDF"/>
      </a:accent3>
      <a:accent4>
        <a:srgbClr val="008098"/>
      </a:accent4>
      <a:accent5>
        <a:srgbClr val="ABD8DD"/>
      </a:accent5>
      <a:accent6>
        <a:srgbClr val="F5D463"/>
      </a:accent6>
      <a:hlink>
        <a:srgbClr val="545963"/>
      </a:hlink>
      <a:folHlink>
        <a:srgbClr val="008098"/>
      </a:folHlink>
    </a:clrScheme>
    <a:fontScheme name="HYDAC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108000" tIns="72000" rIns="108000" bIns="72000" rtlCol="0" anchor="t"/>
      <a:lstStyle>
        <a:defPPr algn="ctr">
          <a:defRPr sz="1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t" anchorCtr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_HYDAC_Presentation_Template_01-2023.pptx" id="{6338C068-0134-4B87-A7B4-B8EAB6966113}" vid="{499214D9-6A5E-425F-8850-AF21CEF03F9C}"/>
    </a:ext>
  </a:extLst>
</a:theme>
</file>

<file path=ppt/theme/theme2.xml><?xml version="1.0" encoding="utf-8"?>
<a:theme xmlns:a="http://schemas.openxmlformats.org/drawingml/2006/main" name="Office">
  <a:themeElements>
    <a:clrScheme name="HYDAC_Color">
      <a:dk1>
        <a:srgbClr val="232630"/>
      </a:dk1>
      <a:lt1>
        <a:sysClr val="window" lastClr="FFFFFF"/>
      </a:lt1>
      <a:dk2>
        <a:srgbClr val="E2001A"/>
      </a:dk2>
      <a:lt2>
        <a:srgbClr val="DCDDDF"/>
      </a:lt2>
      <a:accent1>
        <a:srgbClr val="545963"/>
      </a:accent1>
      <a:accent2>
        <a:srgbClr val="A0A3AA"/>
      </a:accent2>
      <a:accent3>
        <a:srgbClr val="DCDDDF"/>
      </a:accent3>
      <a:accent4>
        <a:srgbClr val="008098"/>
      </a:accent4>
      <a:accent5>
        <a:srgbClr val="ABD8DD"/>
      </a:accent5>
      <a:accent6>
        <a:srgbClr val="F5D463"/>
      </a:accent6>
      <a:hlink>
        <a:srgbClr val="545963"/>
      </a:hlink>
      <a:folHlink>
        <a:srgbClr val="008098"/>
      </a:folHlink>
    </a:clrScheme>
    <a:fontScheme name="HYDAC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HYDAC_Color">
      <a:dk1>
        <a:srgbClr val="232630"/>
      </a:dk1>
      <a:lt1>
        <a:sysClr val="window" lastClr="FFFFFF"/>
      </a:lt1>
      <a:dk2>
        <a:srgbClr val="E2001A"/>
      </a:dk2>
      <a:lt2>
        <a:srgbClr val="DCDDDF"/>
      </a:lt2>
      <a:accent1>
        <a:srgbClr val="545963"/>
      </a:accent1>
      <a:accent2>
        <a:srgbClr val="A0A3AA"/>
      </a:accent2>
      <a:accent3>
        <a:srgbClr val="DCDDDF"/>
      </a:accent3>
      <a:accent4>
        <a:srgbClr val="008098"/>
      </a:accent4>
      <a:accent5>
        <a:srgbClr val="ABD8DD"/>
      </a:accent5>
      <a:accent6>
        <a:srgbClr val="F5D463"/>
      </a:accent6>
      <a:hlink>
        <a:srgbClr val="545963"/>
      </a:hlink>
      <a:folHlink>
        <a:srgbClr val="008098"/>
      </a:folHlink>
    </a:clrScheme>
    <a:fontScheme name="HYDAC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A8F35F77B8A574388FD53D87C9890E0" ma:contentTypeVersion="16" ma:contentTypeDescription="Crie um novo documento." ma:contentTypeScope="" ma:versionID="f1e114f360ddd1e3b7d3593182273f8e">
  <xsd:schema xmlns:xsd="http://www.w3.org/2001/XMLSchema" xmlns:xs="http://www.w3.org/2001/XMLSchema" xmlns:p="http://schemas.microsoft.com/office/2006/metadata/properties" xmlns:ns2="0df62675-7b6c-4c24-a1fe-0a5bcc27285b" xmlns:ns3="f40ecfad-a0b2-49c4-aa59-7dbd5b7cf349" targetNamespace="http://schemas.microsoft.com/office/2006/metadata/properties" ma:root="true" ma:fieldsID="aa6124f33c3ae171fe24aa05f0698228" ns2:_="" ns3:_="">
    <xsd:import namespace="0df62675-7b6c-4c24-a1fe-0a5bcc27285b"/>
    <xsd:import namespace="f40ecfad-a0b2-49c4-aa59-7dbd5b7cf349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_Flow_SignoffStatu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f62675-7b6c-4c24-a1fe-0a5bcc27285b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Marcações de imagem" ma:readOnly="false" ma:fieldId="{5cf76f15-5ced-4ddc-b409-7134ff3c332f}" ma:taxonomyMulti="true" ma:sspId="2fbcd99a-4b99-47d9-893a-2128aae3af9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_Flow_SignoffStatus" ma:index="21" nillable="true" ma:displayName="Status de liberação" ma:internalName="Status_x0020_de_x0020_libera_x00e7__x00e3_o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0ecfad-a0b2-49c4-aa59-7dbd5b7cf349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db2606ef-e46c-4151-acb7-3448ff794084}" ma:internalName="TaxCatchAll" ma:showField="CatchAllData" ma:web="f40ecfad-a0b2-49c4-aa59-7dbd5b7cf34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df62675-7b6c-4c24-a1fe-0a5bcc27285b">
      <Terms xmlns="http://schemas.microsoft.com/office/infopath/2007/PartnerControls"/>
    </lcf76f155ced4ddcb4097134ff3c332f>
    <TaxCatchAll xmlns="f40ecfad-a0b2-49c4-aa59-7dbd5b7cf349" xsi:nil="true"/>
    <_Flow_SignoffStatus xmlns="0df62675-7b6c-4c24-a1fe-0a5bcc27285b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7653E97-7923-4344-95E4-524A001893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f62675-7b6c-4c24-a1fe-0a5bcc27285b"/>
    <ds:schemaRef ds:uri="f40ecfad-a0b2-49c4-aa59-7dbd5b7cf3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ACEEDDB-4BCD-4D86-84AA-5CCC64B3FB76}">
  <ds:schemaRefs>
    <ds:schemaRef ds:uri="0df62675-7b6c-4c24-a1fe-0a5bcc27285b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f40ecfad-a0b2-49c4-aa59-7dbd5b7cf349"/>
    <ds:schemaRef ds:uri="http://schemas.microsoft.com/office/2006/metadata/properties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A957A41B-B22D-432E-97F0-05B20B0B279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YDAC_Presentation_Template_01-2023</Template>
  <TotalTime>4391</TotalTime>
  <Words>1056</Words>
  <Application>Microsoft Office PowerPoint</Application>
  <PresentationFormat>Apresentação na tela (16:9)</PresentationFormat>
  <Paragraphs>235</Paragraphs>
  <Slides>22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2</vt:i4>
      </vt:variant>
    </vt:vector>
  </HeadingPairs>
  <TitlesOfParts>
    <vt:vector size="29" baseType="lpstr">
      <vt:lpstr>Arial</vt:lpstr>
      <vt:lpstr>Bosch Office Sans</vt:lpstr>
      <vt:lpstr>Microsoft Sans Serif</vt:lpstr>
      <vt:lpstr>Verdana</vt:lpstr>
      <vt:lpstr>Wingdings</vt:lpstr>
      <vt:lpstr>HYDAC_Presentation_Template_01-2023</vt:lpstr>
      <vt:lpstr>think-cell Folie</vt:lpstr>
      <vt:lpstr>Apresentação Hydac SFC Smart Fluid Connection  +Service</vt:lpstr>
      <vt:lpstr>Apresentação
</vt:lpstr>
      <vt:lpstr>Apresentação – SFC – Smart Fluid Connection. Hydac - Estrutura</vt:lpstr>
      <vt:lpstr>Qual é a nossa solução?
</vt:lpstr>
      <vt:lpstr>Apresentação – SFC – Smart Fluid Connection Porquê o SFC?</vt:lpstr>
      <vt:lpstr>Apresentação – SFC – Smart Fluid Connection Porquê o SFC?</vt:lpstr>
      <vt:lpstr>Apresentação – SFC – Smart Fluid Connection Porquê o SFC?</vt:lpstr>
      <vt:lpstr>Apresentação – SFC – Smart Fluid Connection Porquê o SFC?</vt:lpstr>
      <vt:lpstr>Apresentação – SFC – Smart Fluid Connection. Porquê o SFC?</vt:lpstr>
      <vt:lpstr>Apresentação – SFC – Smart Fluid Connection. Porquê o SFC?</vt:lpstr>
      <vt:lpstr>Apresentação – SFC – Smart Fluid Connection. Porquê o SFC?</vt:lpstr>
      <vt:lpstr>Apresentação – SFC – Smart Fluid Connection. Porquê o SFC?</vt:lpstr>
      <vt:lpstr>Apresentação – SFC – Smart Fluid Connection. Porquê o SFC?</vt:lpstr>
      <vt:lpstr>Apresentação – SFC – Smart Fluid Connection. Porquê o SFC?</vt:lpstr>
      <vt:lpstr>Como faremos?
</vt:lpstr>
      <vt:lpstr>Apresentação – SFC – Smart Fluid Connection. O que é o SFC?</vt:lpstr>
      <vt:lpstr>Apresentação – SFC – Smart Fluid Connection. O que é o SFC?</vt:lpstr>
      <vt:lpstr>Apresentação – SFC – Smart Fluid Connection. O que é o SFC?</vt:lpstr>
      <vt:lpstr>Quais as Vantagens?
</vt:lpstr>
      <vt:lpstr>Apresentação – SFC – Smart Fluid Connection. Quais as vantagens?</vt:lpstr>
      <vt:lpstr>Apresentação – SFC – Smart Fluid Connection. Quais os serviços?</vt:lpstr>
      <vt:lpstr>Obrigado 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 in one to two rows</dc:title>
  <dc:creator>Morais, Michele</dc:creator>
  <cp:lastModifiedBy>Marcel Magre</cp:lastModifiedBy>
  <cp:revision>27</cp:revision>
  <dcterms:created xsi:type="dcterms:W3CDTF">2023-01-02T13:09:47Z</dcterms:created>
  <dcterms:modified xsi:type="dcterms:W3CDTF">2024-03-20T15:4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8F35F77B8A574388FD53D87C9890E0</vt:lpwstr>
  </property>
  <property fmtid="{D5CDD505-2E9C-101B-9397-08002B2CF9AE}" pid="3" name="MediaServiceImageTags">
    <vt:lpwstr/>
  </property>
</Properties>
</file>